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7.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8.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charts/chart19.xml" ContentType="application/vnd.openxmlformats-officedocument.drawingml.chart+xml"/>
  <Override PartName="/ppt/theme/themeOverride1.xml" ContentType="application/vnd.openxmlformats-officedocument.themeOverr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charts/chart20.xml" ContentType="application/vnd.openxmlformats-officedocument.drawingml.chart+xml"/>
  <Override PartName="/ppt/theme/themeOverride2.xml" ContentType="application/vnd.openxmlformats-officedocument.themeOverr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1.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79" r:id="rId1"/>
    <p:sldMasterId id="2147483705" r:id="rId2"/>
    <p:sldMasterId id="2147483972" r:id="rId3"/>
    <p:sldMasterId id="2147483989" r:id="rId4"/>
    <p:sldMasterId id="2147484000" r:id="rId5"/>
    <p:sldMasterId id="2147484011" r:id="rId6"/>
  </p:sldMasterIdLst>
  <p:notesMasterIdLst>
    <p:notesMasterId r:id="rId52"/>
  </p:notesMasterIdLst>
  <p:sldIdLst>
    <p:sldId id="4581" r:id="rId7"/>
    <p:sldId id="4636" r:id="rId8"/>
    <p:sldId id="2423" r:id="rId9"/>
    <p:sldId id="4695" r:id="rId10"/>
    <p:sldId id="4700" r:id="rId11"/>
    <p:sldId id="4701" r:id="rId12"/>
    <p:sldId id="4696" r:id="rId13"/>
    <p:sldId id="4642" r:id="rId14"/>
    <p:sldId id="4698" r:id="rId15"/>
    <p:sldId id="4699" r:id="rId16"/>
    <p:sldId id="4594" r:id="rId17"/>
    <p:sldId id="4595" r:id="rId18"/>
    <p:sldId id="4682" r:id="rId19"/>
    <p:sldId id="4704" r:id="rId20"/>
    <p:sldId id="1406" r:id="rId21"/>
    <p:sldId id="4697" r:id="rId22"/>
    <p:sldId id="2219" r:id="rId23"/>
    <p:sldId id="4662" r:id="rId24"/>
    <p:sldId id="4663" r:id="rId25"/>
    <p:sldId id="4669" r:id="rId26"/>
    <p:sldId id="4670" r:id="rId27"/>
    <p:sldId id="4705" r:id="rId28"/>
    <p:sldId id="4703" r:id="rId29"/>
    <p:sldId id="4678" r:id="rId30"/>
    <p:sldId id="4690" r:id="rId31"/>
    <p:sldId id="4677" r:id="rId32"/>
    <p:sldId id="1260" r:id="rId33"/>
    <p:sldId id="1261" r:id="rId34"/>
    <p:sldId id="4706" r:id="rId35"/>
    <p:sldId id="4702" r:id="rId36"/>
    <p:sldId id="4707" r:id="rId37"/>
    <p:sldId id="4708" r:id="rId38"/>
    <p:sldId id="4673" r:id="rId39"/>
    <p:sldId id="4689" r:id="rId40"/>
    <p:sldId id="4709" r:id="rId41"/>
    <p:sldId id="2280" r:id="rId42"/>
    <p:sldId id="2185" r:id="rId43"/>
    <p:sldId id="2252" r:id="rId44"/>
    <p:sldId id="4686" r:id="rId45"/>
    <p:sldId id="4687" r:id="rId46"/>
    <p:sldId id="4691" r:id="rId47"/>
    <p:sldId id="4710" r:id="rId48"/>
    <p:sldId id="4711" r:id="rId49"/>
    <p:sldId id="4712" r:id="rId50"/>
    <p:sldId id="4528" r:id="rId51"/>
  </p:sldIdLst>
  <p:sldSz cx="12192000" cy="6858000"/>
  <p:notesSz cx="6858000" cy="9144000"/>
  <p:embeddedFontLst>
    <p:embeddedFont>
      <p:font typeface="Arial Black" panose="020B0A04020102020204" pitchFamily="34" charset="0"/>
      <p:bold r:id="rId53"/>
    </p:embeddedFont>
    <p:embeddedFont>
      <p:font typeface="Calibri" panose="020F0502020204030204" pitchFamily="34" charset="0"/>
      <p:regular r:id="rId54"/>
      <p:bold r:id="rId55"/>
      <p:italic r:id="rId56"/>
      <p:boldItalic r:id="rId57"/>
    </p:embeddedFont>
    <p:embeddedFont>
      <p:font typeface="Calibri Light" panose="020F0302020204030204" pitchFamily="34" charset="0"/>
      <p:regular r:id="rId58"/>
      <p:italic r:id="rId59"/>
    </p:embeddedFont>
  </p:embeddedFontLst>
  <p:custDataLst>
    <p:tags r:id="rId60"/>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userDrawn="1">
          <p15:clr>
            <a:srgbClr val="A4A3A4"/>
          </p15:clr>
        </p15:guide>
        <p15:guide id="2" pos="43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hlová Radka Mgr." initials="PRM" lastIdx="1" clrIdx="0">
    <p:extLst>
      <p:ext uri="{19B8F6BF-5375-455C-9EA6-DF929625EA0E}">
        <p15:presenceInfo xmlns:p15="http://schemas.microsoft.com/office/powerpoint/2012/main" userId="S::pohlovar@mzcr.cz::15a606af-c9df-42db-9d4e-541ca0551712" providerId="AD"/>
      </p:ext>
    </p:extLst>
  </p:cmAuthor>
  <p:cmAuthor id="2" name="Žofka Jan Mgr. Ing." initials="ŽJMI" lastIdx="1" clrIdx="1">
    <p:extLst>
      <p:ext uri="{19B8F6BF-5375-455C-9EA6-DF929625EA0E}">
        <p15:presenceInfo xmlns:p15="http://schemas.microsoft.com/office/powerpoint/2012/main" userId="S::zofkaj@mzcr.cz::47242822-da23-458e-81a5-68dba5d2cc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1145"/>
    <a:srgbClr val="CFDEED"/>
    <a:srgbClr val="0000FF"/>
    <a:srgbClr val="305983"/>
    <a:srgbClr val="00B050"/>
    <a:srgbClr val="000000"/>
    <a:srgbClr val="FFC000"/>
    <a:srgbClr val="00FF00"/>
    <a:srgbClr val="FBCBD8"/>
    <a:srgbClr val="0000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Bez stylu, bez mřížky">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Střední styl 2 – zvýraznění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32" autoAdjust="0"/>
    <p:restoredTop sz="94157" autoAdjust="0"/>
  </p:normalViewPr>
  <p:slideViewPr>
    <p:cSldViewPr snapToGrid="0">
      <p:cViewPr varScale="1">
        <p:scale>
          <a:sx n="98" d="100"/>
          <a:sy n="98" d="100"/>
        </p:scale>
        <p:origin x="270" y="78"/>
      </p:cViewPr>
      <p:guideLst>
        <p:guide orient="horz" pos="867"/>
        <p:guide pos="438"/>
      </p:guideLst>
    </p:cSldViewPr>
  </p:slideViewPr>
  <p:notesTextViewPr>
    <p:cViewPr>
      <p:scale>
        <a:sx n="3" d="2"/>
        <a:sy n="3" d="2"/>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font" Target="fonts/font3.fntdata"/><Relationship Id="rId63"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font" Target="fonts/font1.fntdata"/><Relationship Id="rId58" Type="http://schemas.openxmlformats.org/officeDocument/2006/relationships/font" Target="fonts/font6.fntdata"/><Relationship Id="rId5" Type="http://schemas.openxmlformats.org/officeDocument/2006/relationships/slideMaster" Target="slideMasters/slideMaster5.xml"/><Relationship Id="rId61" Type="http://schemas.openxmlformats.org/officeDocument/2006/relationships/commentAuthors" Target="commentAuthor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4.fntdata"/><Relationship Id="rId64"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7.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2.fntdata"/><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5.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725639816114128E-2"/>
          <c:y val="3.7414076378474583E-2"/>
          <c:w val="0.93069323165507978"/>
          <c:h val="0.81046931681231571"/>
        </c:manualLayout>
      </c:layout>
      <c:lineChart>
        <c:grouping val="standard"/>
        <c:varyColors val="0"/>
        <c:ser>
          <c:idx val="0"/>
          <c:order val="0"/>
          <c:spPr>
            <a:ln w="19050" cap="rnd">
              <a:solidFill>
                <a:schemeClr val="tx1"/>
              </a:solidFill>
              <a:round/>
            </a:ln>
            <a:effectLst/>
          </c:spPr>
          <c:marker>
            <c:symbol val="circle"/>
            <c:size val="5"/>
            <c:spPr>
              <a:solidFill>
                <a:schemeClr val="tx1"/>
              </a:solidFill>
              <a:ln w="19050">
                <a:solidFill>
                  <a:schemeClr val="tx1"/>
                </a:solidFill>
              </a:ln>
              <a:effectLst/>
            </c:spPr>
          </c:marker>
          <c:trendline>
            <c:spPr>
              <a:ln w="25400" cap="rnd">
                <a:solidFill>
                  <a:srgbClr val="FF0000"/>
                </a:solidFill>
                <a:prstDash val="solid"/>
              </a:ln>
              <a:effectLst/>
            </c:spPr>
            <c:trendlineType val="movingAvg"/>
            <c:period val="7"/>
            <c:dispRSqr val="0"/>
            <c:dispEq val="0"/>
          </c:trendline>
          <c:cat>
            <c:numRef>
              <c:f>Sheet1!$A$61:$A$477</c:f>
              <c:numCache>
                <c:formatCode>m/d/yyyy</c:formatCode>
                <c:ptCount val="417"/>
                <c:pt idx="0">
                  <c:v>44135</c:v>
                </c:pt>
                <c:pt idx="1">
                  <c:v>44136</c:v>
                </c:pt>
                <c:pt idx="2">
                  <c:v>44137</c:v>
                </c:pt>
                <c:pt idx="3">
                  <c:v>44138</c:v>
                </c:pt>
                <c:pt idx="4">
                  <c:v>44139</c:v>
                </c:pt>
                <c:pt idx="5">
                  <c:v>44140</c:v>
                </c:pt>
                <c:pt idx="6">
                  <c:v>44141</c:v>
                </c:pt>
                <c:pt idx="7">
                  <c:v>44142</c:v>
                </c:pt>
                <c:pt idx="8">
                  <c:v>44143</c:v>
                </c:pt>
                <c:pt idx="9">
                  <c:v>44144</c:v>
                </c:pt>
                <c:pt idx="10">
                  <c:v>44145</c:v>
                </c:pt>
                <c:pt idx="11">
                  <c:v>44146</c:v>
                </c:pt>
                <c:pt idx="12">
                  <c:v>44147</c:v>
                </c:pt>
                <c:pt idx="13">
                  <c:v>44148</c:v>
                </c:pt>
                <c:pt idx="14">
                  <c:v>44149</c:v>
                </c:pt>
                <c:pt idx="15">
                  <c:v>44150</c:v>
                </c:pt>
                <c:pt idx="16">
                  <c:v>44151</c:v>
                </c:pt>
                <c:pt idx="17">
                  <c:v>44152</c:v>
                </c:pt>
                <c:pt idx="18">
                  <c:v>44153</c:v>
                </c:pt>
                <c:pt idx="19">
                  <c:v>44154</c:v>
                </c:pt>
                <c:pt idx="20">
                  <c:v>44155</c:v>
                </c:pt>
                <c:pt idx="21">
                  <c:v>44156</c:v>
                </c:pt>
                <c:pt idx="22">
                  <c:v>44157</c:v>
                </c:pt>
                <c:pt idx="23">
                  <c:v>44158</c:v>
                </c:pt>
                <c:pt idx="24">
                  <c:v>44159</c:v>
                </c:pt>
                <c:pt idx="25">
                  <c:v>44160</c:v>
                </c:pt>
                <c:pt idx="26">
                  <c:v>44161</c:v>
                </c:pt>
                <c:pt idx="27">
                  <c:v>44162</c:v>
                </c:pt>
                <c:pt idx="28">
                  <c:v>44163</c:v>
                </c:pt>
                <c:pt idx="29">
                  <c:v>44164</c:v>
                </c:pt>
                <c:pt idx="30">
                  <c:v>44165</c:v>
                </c:pt>
                <c:pt idx="31">
                  <c:v>44166</c:v>
                </c:pt>
                <c:pt idx="32">
                  <c:v>44167</c:v>
                </c:pt>
                <c:pt idx="33">
                  <c:v>44168</c:v>
                </c:pt>
                <c:pt idx="34">
                  <c:v>44169</c:v>
                </c:pt>
                <c:pt idx="35">
                  <c:v>44170</c:v>
                </c:pt>
                <c:pt idx="36">
                  <c:v>44171</c:v>
                </c:pt>
                <c:pt idx="37">
                  <c:v>44172</c:v>
                </c:pt>
                <c:pt idx="38">
                  <c:v>44173</c:v>
                </c:pt>
                <c:pt idx="39">
                  <c:v>44174</c:v>
                </c:pt>
                <c:pt idx="40">
                  <c:v>44175</c:v>
                </c:pt>
                <c:pt idx="41">
                  <c:v>44176</c:v>
                </c:pt>
                <c:pt idx="42">
                  <c:v>44177</c:v>
                </c:pt>
                <c:pt idx="43">
                  <c:v>44178</c:v>
                </c:pt>
                <c:pt idx="44">
                  <c:v>44179</c:v>
                </c:pt>
                <c:pt idx="45">
                  <c:v>44180</c:v>
                </c:pt>
                <c:pt idx="46">
                  <c:v>44181</c:v>
                </c:pt>
                <c:pt idx="47">
                  <c:v>44182</c:v>
                </c:pt>
                <c:pt idx="48">
                  <c:v>44183</c:v>
                </c:pt>
                <c:pt idx="49">
                  <c:v>44184</c:v>
                </c:pt>
                <c:pt idx="50">
                  <c:v>44185</c:v>
                </c:pt>
                <c:pt idx="51">
                  <c:v>44186</c:v>
                </c:pt>
                <c:pt idx="52">
                  <c:v>44187</c:v>
                </c:pt>
                <c:pt idx="53">
                  <c:v>44188</c:v>
                </c:pt>
                <c:pt idx="54">
                  <c:v>44189</c:v>
                </c:pt>
                <c:pt idx="55">
                  <c:v>44190</c:v>
                </c:pt>
                <c:pt idx="56">
                  <c:v>44191</c:v>
                </c:pt>
                <c:pt idx="57">
                  <c:v>44192</c:v>
                </c:pt>
                <c:pt idx="58">
                  <c:v>44193</c:v>
                </c:pt>
                <c:pt idx="59">
                  <c:v>44194</c:v>
                </c:pt>
                <c:pt idx="60">
                  <c:v>44195</c:v>
                </c:pt>
                <c:pt idx="61">
                  <c:v>44196</c:v>
                </c:pt>
                <c:pt idx="62">
                  <c:v>44197</c:v>
                </c:pt>
                <c:pt idx="63">
                  <c:v>44198</c:v>
                </c:pt>
                <c:pt idx="64">
                  <c:v>44199</c:v>
                </c:pt>
                <c:pt idx="65">
                  <c:v>44200</c:v>
                </c:pt>
                <c:pt idx="66">
                  <c:v>44201</c:v>
                </c:pt>
                <c:pt idx="67">
                  <c:v>44202</c:v>
                </c:pt>
                <c:pt idx="68">
                  <c:v>44203</c:v>
                </c:pt>
                <c:pt idx="69">
                  <c:v>44204</c:v>
                </c:pt>
                <c:pt idx="70">
                  <c:v>44205</c:v>
                </c:pt>
                <c:pt idx="71">
                  <c:v>44206</c:v>
                </c:pt>
                <c:pt idx="72">
                  <c:v>44207</c:v>
                </c:pt>
                <c:pt idx="73">
                  <c:v>44208</c:v>
                </c:pt>
                <c:pt idx="74">
                  <c:v>44209</c:v>
                </c:pt>
                <c:pt idx="75">
                  <c:v>44210</c:v>
                </c:pt>
                <c:pt idx="76">
                  <c:v>44211</c:v>
                </c:pt>
                <c:pt idx="77">
                  <c:v>44212</c:v>
                </c:pt>
                <c:pt idx="78">
                  <c:v>44213</c:v>
                </c:pt>
                <c:pt idx="79">
                  <c:v>44214</c:v>
                </c:pt>
                <c:pt idx="80">
                  <c:v>44215</c:v>
                </c:pt>
                <c:pt idx="81">
                  <c:v>44216</c:v>
                </c:pt>
                <c:pt idx="82">
                  <c:v>44217</c:v>
                </c:pt>
                <c:pt idx="83">
                  <c:v>44218</c:v>
                </c:pt>
                <c:pt idx="84">
                  <c:v>44219</c:v>
                </c:pt>
                <c:pt idx="85">
                  <c:v>44220</c:v>
                </c:pt>
                <c:pt idx="86">
                  <c:v>44221</c:v>
                </c:pt>
                <c:pt idx="87">
                  <c:v>44222</c:v>
                </c:pt>
                <c:pt idx="88">
                  <c:v>44223</c:v>
                </c:pt>
                <c:pt idx="89">
                  <c:v>44224</c:v>
                </c:pt>
                <c:pt idx="90">
                  <c:v>44225</c:v>
                </c:pt>
                <c:pt idx="91">
                  <c:v>44226</c:v>
                </c:pt>
                <c:pt idx="92">
                  <c:v>44227</c:v>
                </c:pt>
                <c:pt idx="93">
                  <c:v>44228</c:v>
                </c:pt>
                <c:pt idx="94">
                  <c:v>44229</c:v>
                </c:pt>
                <c:pt idx="95">
                  <c:v>44230</c:v>
                </c:pt>
                <c:pt idx="96">
                  <c:v>44231</c:v>
                </c:pt>
                <c:pt idx="97">
                  <c:v>44232</c:v>
                </c:pt>
                <c:pt idx="98">
                  <c:v>44233</c:v>
                </c:pt>
                <c:pt idx="99">
                  <c:v>44234</c:v>
                </c:pt>
                <c:pt idx="100">
                  <c:v>44235</c:v>
                </c:pt>
                <c:pt idx="101">
                  <c:v>44236</c:v>
                </c:pt>
                <c:pt idx="102">
                  <c:v>44237</c:v>
                </c:pt>
                <c:pt idx="103">
                  <c:v>44238</c:v>
                </c:pt>
                <c:pt idx="104">
                  <c:v>44239</c:v>
                </c:pt>
                <c:pt idx="105">
                  <c:v>44240</c:v>
                </c:pt>
                <c:pt idx="106">
                  <c:v>44241</c:v>
                </c:pt>
                <c:pt idx="107">
                  <c:v>44242</c:v>
                </c:pt>
                <c:pt idx="108">
                  <c:v>44243</c:v>
                </c:pt>
                <c:pt idx="109">
                  <c:v>44244</c:v>
                </c:pt>
                <c:pt idx="110">
                  <c:v>44245</c:v>
                </c:pt>
                <c:pt idx="111">
                  <c:v>44246</c:v>
                </c:pt>
                <c:pt idx="112">
                  <c:v>44247</c:v>
                </c:pt>
                <c:pt idx="113">
                  <c:v>44248</c:v>
                </c:pt>
                <c:pt idx="114">
                  <c:v>44249</c:v>
                </c:pt>
                <c:pt idx="115">
                  <c:v>44250</c:v>
                </c:pt>
                <c:pt idx="116">
                  <c:v>44251</c:v>
                </c:pt>
                <c:pt idx="117">
                  <c:v>44252</c:v>
                </c:pt>
                <c:pt idx="118">
                  <c:v>44253</c:v>
                </c:pt>
                <c:pt idx="119">
                  <c:v>44254</c:v>
                </c:pt>
                <c:pt idx="120">
                  <c:v>44255</c:v>
                </c:pt>
                <c:pt idx="121">
                  <c:v>44256</c:v>
                </c:pt>
                <c:pt idx="122">
                  <c:v>44257</c:v>
                </c:pt>
                <c:pt idx="123">
                  <c:v>44258</c:v>
                </c:pt>
                <c:pt idx="124">
                  <c:v>44259</c:v>
                </c:pt>
                <c:pt idx="125">
                  <c:v>44260</c:v>
                </c:pt>
                <c:pt idx="126">
                  <c:v>44261</c:v>
                </c:pt>
                <c:pt idx="127">
                  <c:v>44262</c:v>
                </c:pt>
                <c:pt idx="128">
                  <c:v>44263</c:v>
                </c:pt>
                <c:pt idx="129">
                  <c:v>44264</c:v>
                </c:pt>
                <c:pt idx="130">
                  <c:v>44265</c:v>
                </c:pt>
                <c:pt idx="131">
                  <c:v>44266</c:v>
                </c:pt>
                <c:pt idx="132">
                  <c:v>44267</c:v>
                </c:pt>
                <c:pt idx="133">
                  <c:v>44268</c:v>
                </c:pt>
                <c:pt idx="134">
                  <c:v>44269</c:v>
                </c:pt>
                <c:pt idx="135">
                  <c:v>44270</c:v>
                </c:pt>
                <c:pt idx="136">
                  <c:v>44271</c:v>
                </c:pt>
                <c:pt idx="137">
                  <c:v>44272</c:v>
                </c:pt>
                <c:pt idx="138">
                  <c:v>44273</c:v>
                </c:pt>
                <c:pt idx="139">
                  <c:v>44274</c:v>
                </c:pt>
                <c:pt idx="140">
                  <c:v>44275</c:v>
                </c:pt>
                <c:pt idx="141">
                  <c:v>44276</c:v>
                </c:pt>
                <c:pt idx="142">
                  <c:v>44277</c:v>
                </c:pt>
                <c:pt idx="143">
                  <c:v>44278</c:v>
                </c:pt>
                <c:pt idx="144">
                  <c:v>44279</c:v>
                </c:pt>
                <c:pt idx="145">
                  <c:v>44280</c:v>
                </c:pt>
                <c:pt idx="146">
                  <c:v>44281</c:v>
                </c:pt>
                <c:pt idx="147">
                  <c:v>44282</c:v>
                </c:pt>
                <c:pt idx="148">
                  <c:v>44283</c:v>
                </c:pt>
                <c:pt idx="149">
                  <c:v>44284</c:v>
                </c:pt>
                <c:pt idx="150">
                  <c:v>44285</c:v>
                </c:pt>
                <c:pt idx="151">
                  <c:v>44286</c:v>
                </c:pt>
                <c:pt idx="152">
                  <c:v>44287</c:v>
                </c:pt>
                <c:pt idx="153">
                  <c:v>44288</c:v>
                </c:pt>
                <c:pt idx="154">
                  <c:v>44289</c:v>
                </c:pt>
                <c:pt idx="155">
                  <c:v>44290</c:v>
                </c:pt>
                <c:pt idx="156">
                  <c:v>44291</c:v>
                </c:pt>
                <c:pt idx="157">
                  <c:v>44292</c:v>
                </c:pt>
                <c:pt idx="158">
                  <c:v>44293</c:v>
                </c:pt>
                <c:pt idx="159">
                  <c:v>44294</c:v>
                </c:pt>
                <c:pt idx="160">
                  <c:v>44295</c:v>
                </c:pt>
                <c:pt idx="161">
                  <c:v>44296</c:v>
                </c:pt>
                <c:pt idx="162">
                  <c:v>44297</c:v>
                </c:pt>
                <c:pt idx="163">
                  <c:v>44298</c:v>
                </c:pt>
                <c:pt idx="164">
                  <c:v>44299</c:v>
                </c:pt>
                <c:pt idx="165">
                  <c:v>44300</c:v>
                </c:pt>
                <c:pt idx="166">
                  <c:v>44301</c:v>
                </c:pt>
                <c:pt idx="167">
                  <c:v>44302</c:v>
                </c:pt>
                <c:pt idx="168">
                  <c:v>44303</c:v>
                </c:pt>
                <c:pt idx="169">
                  <c:v>44304</c:v>
                </c:pt>
                <c:pt idx="170">
                  <c:v>44305</c:v>
                </c:pt>
                <c:pt idx="171">
                  <c:v>44306</c:v>
                </c:pt>
                <c:pt idx="172">
                  <c:v>44307</c:v>
                </c:pt>
                <c:pt idx="173">
                  <c:v>44308</c:v>
                </c:pt>
                <c:pt idx="174">
                  <c:v>44309</c:v>
                </c:pt>
                <c:pt idx="175">
                  <c:v>44310</c:v>
                </c:pt>
                <c:pt idx="176">
                  <c:v>44311</c:v>
                </c:pt>
                <c:pt idx="177">
                  <c:v>44312</c:v>
                </c:pt>
                <c:pt idx="178">
                  <c:v>44313</c:v>
                </c:pt>
                <c:pt idx="179">
                  <c:v>44314</c:v>
                </c:pt>
                <c:pt idx="180">
                  <c:v>44315</c:v>
                </c:pt>
                <c:pt idx="181">
                  <c:v>44316</c:v>
                </c:pt>
                <c:pt idx="182">
                  <c:v>44317</c:v>
                </c:pt>
                <c:pt idx="183">
                  <c:v>44318</c:v>
                </c:pt>
                <c:pt idx="184">
                  <c:v>44319</c:v>
                </c:pt>
                <c:pt idx="185">
                  <c:v>44320</c:v>
                </c:pt>
                <c:pt idx="186">
                  <c:v>44321</c:v>
                </c:pt>
                <c:pt idx="187">
                  <c:v>44322</c:v>
                </c:pt>
                <c:pt idx="188">
                  <c:v>44323</c:v>
                </c:pt>
                <c:pt idx="189">
                  <c:v>44324</c:v>
                </c:pt>
                <c:pt idx="190">
                  <c:v>44325</c:v>
                </c:pt>
                <c:pt idx="191">
                  <c:v>44326</c:v>
                </c:pt>
                <c:pt idx="192">
                  <c:v>44327</c:v>
                </c:pt>
                <c:pt idx="193">
                  <c:v>44328</c:v>
                </c:pt>
                <c:pt idx="194">
                  <c:v>44329</c:v>
                </c:pt>
                <c:pt idx="195">
                  <c:v>44330</c:v>
                </c:pt>
                <c:pt idx="196">
                  <c:v>44331</c:v>
                </c:pt>
                <c:pt idx="197">
                  <c:v>44332</c:v>
                </c:pt>
                <c:pt idx="198">
                  <c:v>44333</c:v>
                </c:pt>
                <c:pt idx="199">
                  <c:v>44334</c:v>
                </c:pt>
                <c:pt idx="200">
                  <c:v>44335</c:v>
                </c:pt>
                <c:pt idx="201">
                  <c:v>44336</c:v>
                </c:pt>
                <c:pt idx="202">
                  <c:v>44337</c:v>
                </c:pt>
                <c:pt idx="203">
                  <c:v>44338</c:v>
                </c:pt>
                <c:pt idx="204">
                  <c:v>44339</c:v>
                </c:pt>
                <c:pt idx="205">
                  <c:v>44340</c:v>
                </c:pt>
                <c:pt idx="206">
                  <c:v>44341</c:v>
                </c:pt>
                <c:pt idx="207">
                  <c:v>44342</c:v>
                </c:pt>
                <c:pt idx="208">
                  <c:v>44343</c:v>
                </c:pt>
                <c:pt idx="209">
                  <c:v>44344</c:v>
                </c:pt>
                <c:pt idx="210">
                  <c:v>44345</c:v>
                </c:pt>
                <c:pt idx="211">
                  <c:v>44346</c:v>
                </c:pt>
                <c:pt idx="212">
                  <c:v>44347</c:v>
                </c:pt>
                <c:pt idx="213">
                  <c:v>44348</c:v>
                </c:pt>
                <c:pt idx="214">
                  <c:v>44349</c:v>
                </c:pt>
                <c:pt idx="215">
                  <c:v>44350</c:v>
                </c:pt>
                <c:pt idx="216">
                  <c:v>44351</c:v>
                </c:pt>
                <c:pt idx="217">
                  <c:v>44352</c:v>
                </c:pt>
                <c:pt idx="218">
                  <c:v>44353</c:v>
                </c:pt>
                <c:pt idx="219">
                  <c:v>44354</c:v>
                </c:pt>
                <c:pt idx="220">
                  <c:v>44355</c:v>
                </c:pt>
                <c:pt idx="221">
                  <c:v>44356</c:v>
                </c:pt>
                <c:pt idx="222">
                  <c:v>44357</c:v>
                </c:pt>
                <c:pt idx="223">
                  <c:v>44358</c:v>
                </c:pt>
                <c:pt idx="224">
                  <c:v>44359</c:v>
                </c:pt>
                <c:pt idx="225">
                  <c:v>44360</c:v>
                </c:pt>
                <c:pt idx="226">
                  <c:v>44361</c:v>
                </c:pt>
                <c:pt idx="227">
                  <c:v>44362</c:v>
                </c:pt>
                <c:pt idx="228">
                  <c:v>44363</c:v>
                </c:pt>
                <c:pt idx="229">
                  <c:v>44364</c:v>
                </c:pt>
                <c:pt idx="230">
                  <c:v>44365</c:v>
                </c:pt>
                <c:pt idx="231">
                  <c:v>44366</c:v>
                </c:pt>
                <c:pt idx="232">
                  <c:v>44367</c:v>
                </c:pt>
                <c:pt idx="233">
                  <c:v>44368</c:v>
                </c:pt>
                <c:pt idx="234">
                  <c:v>44369</c:v>
                </c:pt>
                <c:pt idx="235">
                  <c:v>44370</c:v>
                </c:pt>
                <c:pt idx="236">
                  <c:v>44371</c:v>
                </c:pt>
                <c:pt idx="237">
                  <c:v>44372</c:v>
                </c:pt>
                <c:pt idx="238">
                  <c:v>44373</c:v>
                </c:pt>
                <c:pt idx="239">
                  <c:v>44374</c:v>
                </c:pt>
                <c:pt idx="240">
                  <c:v>44375</c:v>
                </c:pt>
                <c:pt idx="241">
                  <c:v>44376</c:v>
                </c:pt>
                <c:pt idx="242">
                  <c:v>44377</c:v>
                </c:pt>
                <c:pt idx="243">
                  <c:v>44378</c:v>
                </c:pt>
                <c:pt idx="244">
                  <c:v>44379</c:v>
                </c:pt>
                <c:pt idx="245">
                  <c:v>44380</c:v>
                </c:pt>
                <c:pt idx="246">
                  <c:v>44381</c:v>
                </c:pt>
                <c:pt idx="247">
                  <c:v>44382</c:v>
                </c:pt>
                <c:pt idx="248">
                  <c:v>44383</c:v>
                </c:pt>
                <c:pt idx="249">
                  <c:v>44384</c:v>
                </c:pt>
                <c:pt idx="250">
                  <c:v>44385</c:v>
                </c:pt>
                <c:pt idx="251">
                  <c:v>44386</c:v>
                </c:pt>
                <c:pt idx="252">
                  <c:v>44387</c:v>
                </c:pt>
                <c:pt idx="253">
                  <c:v>44388</c:v>
                </c:pt>
                <c:pt idx="254">
                  <c:v>44389</c:v>
                </c:pt>
                <c:pt idx="255">
                  <c:v>44390</c:v>
                </c:pt>
                <c:pt idx="256">
                  <c:v>44391</c:v>
                </c:pt>
                <c:pt idx="257">
                  <c:v>44392</c:v>
                </c:pt>
                <c:pt idx="258">
                  <c:v>44393</c:v>
                </c:pt>
                <c:pt idx="259">
                  <c:v>44394</c:v>
                </c:pt>
                <c:pt idx="260">
                  <c:v>44395</c:v>
                </c:pt>
                <c:pt idx="261">
                  <c:v>44396</c:v>
                </c:pt>
                <c:pt idx="262">
                  <c:v>44397</c:v>
                </c:pt>
                <c:pt idx="263">
                  <c:v>44398</c:v>
                </c:pt>
                <c:pt idx="264">
                  <c:v>44399</c:v>
                </c:pt>
                <c:pt idx="265">
                  <c:v>44400</c:v>
                </c:pt>
                <c:pt idx="266">
                  <c:v>44401</c:v>
                </c:pt>
                <c:pt idx="267">
                  <c:v>44402</c:v>
                </c:pt>
                <c:pt idx="268">
                  <c:v>44403</c:v>
                </c:pt>
                <c:pt idx="269">
                  <c:v>44404</c:v>
                </c:pt>
                <c:pt idx="270">
                  <c:v>44405</c:v>
                </c:pt>
                <c:pt idx="271">
                  <c:v>44406</c:v>
                </c:pt>
                <c:pt idx="272">
                  <c:v>44407</c:v>
                </c:pt>
                <c:pt idx="273">
                  <c:v>44408</c:v>
                </c:pt>
                <c:pt idx="274">
                  <c:v>44409</c:v>
                </c:pt>
                <c:pt idx="275">
                  <c:v>44410</c:v>
                </c:pt>
                <c:pt idx="276">
                  <c:v>44411</c:v>
                </c:pt>
                <c:pt idx="277">
                  <c:v>44412</c:v>
                </c:pt>
                <c:pt idx="278">
                  <c:v>44413</c:v>
                </c:pt>
                <c:pt idx="279">
                  <c:v>44414</c:v>
                </c:pt>
                <c:pt idx="280">
                  <c:v>44415</c:v>
                </c:pt>
                <c:pt idx="281">
                  <c:v>44416</c:v>
                </c:pt>
                <c:pt idx="282">
                  <c:v>44417</c:v>
                </c:pt>
                <c:pt idx="283">
                  <c:v>44418</c:v>
                </c:pt>
                <c:pt idx="284">
                  <c:v>44419</c:v>
                </c:pt>
                <c:pt idx="285">
                  <c:v>44420</c:v>
                </c:pt>
                <c:pt idx="286">
                  <c:v>44421</c:v>
                </c:pt>
                <c:pt idx="287">
                  <c:v>44422</c:v>
                </c:pt>
                <c:pt idx="288">
                  <c:v>44423</c:v>
                </c:pt>
                <c:pt idx="289">
                  <c:v>44424</c:v>
                </c:pt>
                <c:pt idx="290">
                  <c:v>44425</c:v>
                </c:pt>
                <c:pt idx="291">
                  <c:v>44426</c:v>
                </c:pt>
                <c:pt idx="292">
                  <c:v>44427</c:v>
                </c:pt>
                <c:pt idx="293">
                  <c:v>44428</c:v>
                </c:pt>
                <c:pt idx="294">
                  <c:v>44429</c:v>
                </c:pt>
                <c:pt idx="295">
                  <c:v>44430</c:v>
                </c:pt>
                <c:pt idx="296">
                  <c:v>44431</c:v>
                </c:pt>
                <c:pt idx="297">
                  <c:v>44432</c:v>
                </c:pt>
                <c:pt idx="298">
                  <c:v>44433</c:v>
                </c:pt>
                <c:pt idx="299">
                  <c:v>44434</c:v>
                </c:pt>
                <c:pt idx="300">
                  <c:v>44435</c:v>
                </c:pt>
                <c:pt idx="301">
                  <c:v>44436</c:v>
                </c:pt>
                <c:pt idx="302">
                  <c:v>44437</c:v>
                </c:pt>
                <c:pt idx="303">
                  <c:v>44438</c:v>
                </c:pt>
                <c:pt idx="304">
                  <c:v>44439</c:v>
                </c:pt>
                <c:pt idx="305">
                  <c:v>44440</c:v>
                </c:pt>
                <c:pt idx="306">
                  <c:v>44441</c:v>
                </c:pt>
                <c:pt idx="307">
                  <c:v>44442</c:v>
                </c:pt>
                <c:pt idx="308">
                  <c:v>44443</c:v>
                </c:pt>
                <c:pt idx="309">
                  <c:v>44444</c:v>
                </c:pt>
                <c:pt idx="310">
                  <c:v>44445</c:v>
                </c:pt>
                <c:pt idx="311">
                  <c:v>44446</c:v>
                </c:pt>
                <c:pt idx="312">
                  <c:v>44447</c:v>
                </c:pt>
                <c:pt idx="313">
                  <c:v>44448</c:v>
                </c:pt>
                <c:pt idx="314">
                  <c:v>44449</c:v>
                </c:pt>
                <c:pt idx="315">
                  <c:v>44450</c:v>
                </c:pt>
                <c:pt idx="316">
                  <c:v>44451</c:v>
                </c:pt>
                <c:pt idx="317">
                  <c:v>44452</c:v>
                </c:pt>
                <c:pt idx="318">
                  <c:v>44453</c:v>
                </c:pt>
                <c:pt idx="319">
                  <c:v>44454</c:v>
                </c:pt>
                <c:pt idx="320">
                  <c:v>44455</c:v>
                </c:pt>
                <c:pt idx="321">
                  <c:v>44456</c:v>
                </c:pt>
                <c:pt idx="322">
                  <c:v>44457</c:v>
                </c:pt>
                <c:pt idx="323">
                  <c:v>44458</c:v>
                </c:pt>
                <c:pt idx="324">
                  <c:v>44459</c:v>
                </c:pt>
                <c:pt idx="325">
                  <c:v>44460</c:v>
                </c:pt>
                <c:pt idx="326">
                  <c:v>44461</c:v>
                </c:pt>
                <c:pt idx="327">
                  <c:v>44462</c:v>
                </c:pt>
                <c:pt idx="328">
                  <c:v>44463</c:v>
                </c:pt>
                <c:pt idx="329">
                  <c:v>44464</c:v>
                </c:pt>
                <c:pt idx="330">
                  <c:v>44465</c:v>
                </c:pt>
                <c:pt idx="331">
                  <c:v>44466</c:v>
                </c:pt>
                <c:pt idx="332">
                  <c:v>44467</c:v>
                </c:pt>
                <c:pt idx="333">
                  <c:v>44468</c:v>
                </c:pt>
                <c:pt idx="334">
                  <c:v>44469</c:v>
                </c:pt>
                <c:pt idx="335">
                  <c:v>44470</c:v>
                </c:pt>
                <c:pt idx="336">
                  <c:v>44471</c:v>
                </c:pt>
                <c:pt idx="337">
                  <c:v>44472</c:v>
                </c:pt>
                <c:pt idx="338">
                  <c:v>44473</c:v>
                </c:pt>
                <c:pt idx="339">
                  <c:v>44474</c:v>
                </c:pt>
                <c:pt idx="340">
                  <c:v>44475</c:v>
                </c:pt>
                <c:pt idx="341">
                  <c:v>44476</c:v>
                </c:pt>
                <c:pt idx="342">
                  <c:v>44477</c:v>
                </c:pt>
                <c:pt idx="343">
                  <c:v>44478</c:v>
                </c:pt>
                <c:pt idx="344">
                  <c:v>44479</c:v>
                </c:pt>
                <c:pt idx="345">
                  <c:v>44480</c:v>
                </c:pt>
                <c:pt idx="346">
                  <c:v>44481</c:v>
                </c:pt>
                <c:pt idx="347">
                  <c:v>44482</c:v>
                </c:pt>
                <c:pt idx="348">
                  <c:v>44483</c:v>
                </c:pt>
                <c:pt idx="349">
                  <c:v>44484</c:v>
                </c:pt>
                <c:pt idx="350">
                  <c:v>44485</c:v>
                </c:pt>
                <c:pt idx="351">
                  <c:v>44486</c:v>
                </c:pt>
                <c:pt idx="352">
                  <c:v>44487</c:v>
                </c:pt>
                <c:pt idx="353">
                  <c:v>44488</c:v>
                </c:pt>
                <c:pt idx="354">
                  <c:v>44489</c:v>
                </c:pt>
                <c:pt idx="355">
                  <c:v>44490</c:v>
                </c:pt>
                <c:pt idx="356">
                  <c:v>44491</c:v>
                </c:pt>
                <c:pt idx="357">
                  <c:v>44492</c:v>
                </c:pt>
                <c:pt idx="358">
                  <c:v>44493</c:v>
                </c:pt>
                <c:pt idx="359">
                  <c:v>44494</c:v>
                </c:pt>
                <c:pt idx="360">
                  <c:v>44495</c:v>
                </c:pt>
                <c:pt idx="361">
                  <c:v>44496</c:v>
                </c:pt>
                <c:pt idx="362">
                  <c:v>44497</c:v>
                </c:pt>
                <c:pt idx="363">
                  <c:v>44498</c:v>
                </c:pt>
                <c:pt idx="364">
                  <c:v>44499</c:v>
                </c:pt>
                <c:pt idx="365">
                  <c:v>44500</c:v>
                </c:pt>
                <c:pt idx="366">
                  <c:v>44501</c:v>
                </c:pt>
                <c:pt idx="367">
                  <c:v>44502</c:v>
                </c:pt>
                <c:pt idx="368">
                  <c:v>44503</c:v>
                </c:pt>
                <c:pt idx="369">
                  <c:v>44504</c:v>
                </c:pt>
                <c:pt idx="370">
                  <c:v>44505</c:v>
                </c:pt>
                <c:pt idx="371">
                  <c:v>44506</c:v>
                </c:pt>
                <c:pt idx="372">
                  <c:v>44507</c:v>
                </c:pt>
                <c:pt idx="373">
                  <c:v>44508</c:v>
                </c:pt>
                <c:pt idx="374">
                  <c:v>44509</c:v>
                </c:pt>
                <c:pt idx="375">
                  <c:v>44510</c:v>
                </c:pt>
                <c:pt idx="376">
                  <c:v>44511</c:v>
                </c:pt>
                <c:pt idx="377">
                  <c:v>44512</c:v>
                </c:pt>
                <c:pt idx="378">
                  <c:v>44513</c:v>
                </c:pt>
                <c:pt idx="379">
                  <c:v>44514</c:v>
                </c:pt>
                <c:pt idx="380">
                  <c:v>44515</c:v>
                </c:pt>
                <c:pt idx="381">
                  <c:v>44516</c:v>
                </c:pt>
                <c:pt idx="382">
                  <c:v>44517</c:v>
                </c:pt>
                <c:pt idx="383">
                  <c:v>44518</c:v>
                </c:pt>
                <c:pt idx="384">
                  <c:v>44519</c:v>
                </c:pt>
                <c:pt idx="385">
                  <c:v>44520</c:v>
                </c:pt>
                <c:pt idx="386">
                  <c:v>44521</c:v>
                </c:pt>
                <c:pt idx="387">
                  <c:v>44522</c:v>
                </c:pt>
                <c:pt idx="388">
                  <c:v>44523</c:v>
                </c:pt>
                <c:pt idx="389">
                  <c:v>44524</c:v>
                </c:pt>
                <c:pt idx="390">
                  <c:v>44525</c:v>
                </c:pt>
                <c:pt idx="391">
                  <c:v>44526</c:v>
                </c:pt>
                <c:pt idx="392">
                  <c:v>44527</c:v>
                </c:pt>
                <c:pt idx="393">
                  <c:v>44528</c:v>
                </c:pt>
                <c:pt idx="394">
                  <c:v>44529</c:v>
                </c:pt>
                <c:pt idx="395">
                  <c:v>44530</c:v>
                </c:pt>
                <c:pt idx="396">
                  <c:v>44531</c:v>
                </c:pt>
                <c:pt idx="397">
                  <c:v>44532</c:v>
                </c:pt>
                <c:pt idx="398">
                  <c:v>44533</c:v>
                </c:pt>
                <c:pt idx="399">
                  <c:v>44534</c:v>
                </c:pt>
                <c:pt idx="400">
                  <c:v>44535</c:v>
                </c:pt>
                <c:pt idx="401">
                  <c:v>44536</c:v>
                </c:pt>
                <c:pt idx="402">
                  <c:v>44537</c:v>
                </c:pt>
                <c:pt idx="403">
                  <c:v>44538</c:v>
                </c:pt>
                <c:pt idx="404">
                  <c:v>44539</c:v>
                </c:pt>
                <c:pt idx="405">
                  <c:v>44540</c:v>
                </c:pt>
                <c:pt idx="406">
                  <c:v>44541</c:v>
                </c:pt>
                <c:pt idx="407">
                  <c:v>44542</c:v>
                </c:pt>
                <c:pt idx="408">
                  <c:v>44543</c:v>
                </c:pt>
                <c:pt idx="409">
                  <c:v>44544</c:v>
                </c:pt>
                <c:pt idx="410">
                  <c:v>44545</c:v>
                </c:pt>
                <c:pt idx="411">
                  <c:v>44546</c:v>
                </c:pt>
                <c:pt idx="412">
                  <c:v>44547</c:v>
                </c:pt>
                <c:pt idx="413">
                  <c:v>44548</c:v>
                </c:pt>
                <c:pt idx="414">
                  <c:v>44549</c:v>
                </c:pt>
                <c:pt idx="415">
                  <c:v>44550</c:v>
                </c:pt>
                <c:pt idx="416">
                  <c:v>44551</c:v>
                </c:pt>
              </c:numCache>
            </c:numRef>
          </c:cat>
          <c:val>
            <c:numRef>
              <c:f>Sheet1!$B$61:$B$477</c:f>
              <c:numCache>
                <c:formatCode>General</c:formatCode>
                <c:ptCount val="417"/>
                <c:pt idx="0">
                  <c:v>0.38103169548799998</c:v>
                </c:pt>
                <c:pt idx="1">
                  <c:v>0.38659084655499998</c:v>
                </c:pt>
                <c:pt idx="2">
                  <c:v>0.37340063387700001</c:v>
                </c:pt>
                <c:pt idx="3">
                  <c:v>0.34581119738400001</c:v>
                </c:pt>
                <c:pt idx="4">
                  <c:v>0.41429475015799999</c:v>
                </c:pt>
                <c:pt idx="5">
                  <c:v>0.38132957325900002</c:v>
                </c:pt>
                <c:pt idx="6">
                  <c:v>0.34358464112800002</c:v>
                </c:pt>
                <c:pt idx="7">
                  <c:v>0.35708268987699998</c:v>
                </c:pt>
                <c:pt idx="8">
                  <c:v>0.32461197339199999</c:v>
                </c:pt>
                <c:pt idx="9">
                  <c:v>0.255022131426</c:v>
                </c:pt>
                <c:pt idx="10">
                  <c:v>0.30427472359500002</c:v>
                </c:pt>
                <c:pt idx="11">
                  <c:v>0.32892421231899999</c:v>
                </c:pt>
                <c:pt idx="12">
                  <c:v>0.32094831431999998</c:v>
                </c:pt>
                <c:pt idx="13">
                  <c:v>0.28469596479199999</c:v>
                </c:pt>
                <c:pt idx="14">
                  <c:v>0.32079806529600002</c:v>
                </c:pt>
                <c:pt idx="15">
                  <c:v>0.27679280232800002</c:v>
                </c:pt>
                <c:pt idx="16">
                  <c:v>0.25206678554</c:v>
                </c:pt>
                <c:pt idx="17">
                  <c:v>0.30478679178000001</c:v>
                </c:pt>
                <c:pt idx="18">
                  <c:v>0.269967532467</c:v>
                </c:pt>
                <c:pt idx="19">
                  <c:v>0.29709458967399999</c:v>
                </c:pt>
                <c:pt idx="20">
                  <c:v>0.26931281426100001</c:v>
                </c:pt>
                <c:pt idx="21">
                  <c:v>0.27384880218000002</c:v>
                </c:pt>
                <c:pt idx="22">
                  <c:v>0.260869565217</c:v>
                </c:pt>
                <c:pt idx="23">
                  <c:v>0.22541495627300001</c:v>
                </c:pt>
                <c:pt idx="24">
                  <c:v>0.28582758347199999</c:v>
                </c:pt>
                <c:pt idx="25">
                  <c:v>0.26708245437</c:v>
                </c:pt>
                <c:pt idx="26">
                  <c:v>0.259567567567</c:v>
                </c:pt>
                <c:pt idx="27">
                  <c:v>0.24054218086099999</c:v>
                </c:pt>
                <c:pt idx="28">
                  <c:v>0.26203208556099999</c:v>
                </c:pt>
                <c:pt idx="29">
                  <c:v>0.211739130434</c:v>
                </c:pt>
                <c:pt idx="30">
                  <c:v>0.19506578947299999</c:v>
                </c:pt>
                <c:pt idx="31">
                  <c:v>0.28546477779899998</c:v>
                </c:pt>
                <c:pt idx="32">
                  <c:v>0.246761779613</c:v>
                </c:pt>
                <c:pt idx="33">
                  <c:v>0.27479403483100001</c:v>
                </c:pt>
                <c:pt idx="34">
                  <c:v>0.26487710219900001</c:v>
                </c:pt>
                <c:pt idx="35">
                  <c:v>0.308230528447</c:v>
                </c:pt>
                <c:pt idx="36">
                  <c:v>0.198776758409</c:v>
                </c:pt>
                <c:pt idx="37">
                  <c:v>0.21497561441999999</c:v>
                </c:pt>
                <c:pt idx="38">
                  <c:v>0.27928002654200001</c:v>
                </c:pt>
                <c:pt idx="39">
                  <c:v>0.31397444298799998</c:v>
                </c:pt>
                <c:pt idx="40">
                  <c:v>0.280785653287</c:v>
                </c:pt>
                <c:pt idx="41">
                  <c:v>0.268745647295</c:v>
                </c:pt>
                <c:pt idx="42">
                  <c:v>0.30805979349599999</c:v>
                </c:pt>
                <c:pt idx="43">
                  <c:v>0.30160142348699998</c:v>
                </c:pt>
                <c:pt idx="44">
                  <c:v>0.234326018808</c:v>
                </c:pt>
                <c:pt idx="45">
                  <c:v>0.30629581420800001</c:v>
                </c:pt>
                <c:pt idx="46">
                  <c:v>0.311132561132</c:v>
                </c:pt>
                <c:pt idx="47">
                  <c:v>0.29520855332599999</c:v>
                </c:pt>
                <c:pt idx="48">
                  <c:v>0.31617127816599999</c:v>
                </c:pt>
                <c:pt idx="49">
                  <c:v>0.28392970569499998</c:v>
                </c:pt>
                <c:pt idx="50">
                  <c:v>0.356158088235</c:v>
                </c:pt>
                <c:pt idx="51">
                  <c:v>0.27335314153099999</c:v>
                </c:pt>
                <c:pt idx="52">
                  <c:v>0.324695036258</c:v>
                </c:pt>
                <c:pt idx="53">
                  <c:v>0.38331488376700001</c:v>
                </c:pt>
                <c:pt idx="54">
                  <c:v>0.41448164582399999</c:v>
                </c:pt>
                <c:pt idx="55">
                  <c:v>0.35084572014299997</c:v>
                </c:pt>
                <c:pt idx="56">
                  <c:v>0.35377358490499999</c:v>
                </c:pt>
                <c:pt idx="57">
                  <c:v>0.341141396933</c:v>
                </c:pt>
                <c:pt idx="58">
                  <c:v>0.393985075751</c:v>
                </c:pt>
                <c:pt idx="59">
                  <c:v>0.497859565241</c:v>
                </c:pt>
                <c:pt idx="60">
                  <c:v>0.48739270386200001</c:v>
                </c:pt>
                <c:pt idx="61">
                  <c:v>0.498337189126</c:v>
                </c:pt>
                <c:pt idx="62">
                  <c:v>0.47298818232899997</c:v>
                </c:pt>
                <c:pt idx="63">
                  <c:v>0.353525641025</c:v>
                </c:pt>
                <c:pt idx="64">
                  <c:v>0.40378197997699999</c:v>
                </c:pt>
                <c:pt idx="65">
                  <c:v>0.34766218421200001</c:v>
                </c:pt>
                <c:pt idx="66">
                  <c:v>0.40693849966200002</c:v>
                </c:pt>
                <c:pt idx="67">
                  <c:v>0.47189434984500001</c:v>
                </c:pt>
                <c:pt idx="68">
                  <c:v>0.39875896444699999</c:v>
                </c:pt>
                <c:pt idx="69">
                  <c:v>0.353837384049</c:v>
                </c:pt>
                <c:pt idx="70">
                  <c:v>0.43818889128999999</c:v>
                </c:pt>
                <c:pt idx="71">
                  <c:v>0.34677917266899999</c:v>
                </c:pt>
                <c:pt idx="72">
                  <c:v>0.27020202020200002</c:v>
                </c:pt>
                <c:pt idx="73">
                  <c:v>0.30090282727399997</c:v>
                </c:pt>
                <c:pt idx="74">
                  <c:v>0.33756264670399999</c:v>
                </c:pt>
                <c:pt idx="75">
                  <c:v>0.27320261437900001</c:v>
                </c:pt>
                <c:pt idx="76">
                  <c:v>0.30477321965100002</c:v>
                </c:pt>
                <c:pt idx="77">
                  <c:v>0.30839761315600001</c:v>
                </c:pt>
                <c:pt idx="78">
                  <c:v>0.298145933014</c:v>
                </c:pt>
                <c:pt idx="79">
                  <c:v>0.261312127236</c:v>
                </c:pt>
                <c:pt idx="80">
                  <c:v>0.32796664989500002</c:v>
                </c:pt>
                <c:pt idx="81">
                  <c:v>0.30398403316099998</c:v>
                </c:pt>
                <c:pt idx="82">
                  <c:v>0.319499105545</c:v>
                </c:pt>
                <c:pt idx="83">
                  <c:v>0.28084889148100001</c:v>
                </c:pt>
                <c:pt idx="84">
                  <c:v>0.29659421530000002</c:v>
                </c:pt>
                <c:pt idx="85">
                  <c:v>0.266318537859</c:v>
                </c:pt>
                <c:pt idx="86">
                  <c:v>0.23260239966900001</c:v>
                </c:pt>
                <c:pt idx="87">
                  <c:v>0.30691251009999998</c:v>
                </c:pt>
                <c:pt idx="88">
                  <c:v>0.29388142523299998</c:v>
                </c:pt>
                <c:pt idx="89">
                  <c:v>0.30367997371400002</c:v>
                </c:pt>
                <c:pt idx="90">
                  <c:v>0.26630795312099997</c:v>
                </c:pt>
                <c:pt idx="91">
                  <c:v>0.27876028716500001</c:v>
                </c:pt>
                <c:pt idx="92">
                  <c:v>0.29870584120299998</c:v>
                </c:pt>
                <c:pt idx="93">
                  <c:v>0.246640514147</c:v>
                </c:pt>
                <c:pt idx="94">
                  <c:v>0.29870692768899998</c:v>
                </c:pt>
                <c:pt idx="95">
                  <c:v>0.30926884618099998</c:v>
                </c:pt>
                <c:pt idx="96">
                  <c:v>0.28472542685699997</c:v>
                </c:pt>
                <c:pt idx="97">
                  <c:v>0.27865451581799999</c:v>
                </c:pt>
                <c:pt idx="98">
                  <c:v>0.30605648179599998</c:v>
                </c:pt>
                <c:pt idx="99">
                  <c:v>0.25913043478199999</c:v>
                </c:pt>
                <c:pt idx="100">
                  <c:v>0.26638555321200003</c:v>
                </c:pt>
                <c:pt idx="101">
                  <c:v>0.33181126331799998</c:v>
                </c:pt>
                <c:pt idx="102">
                  <c:v>0.32014097951300002</c:v>
                </c:pt>
                <c:pt idx="103">
                  <c:v>0.31013042159499998</c:v>
                </c:pt>
                <c:pt idx="104">
                  <c:v>0.28578654527000003</c:v>
                </c:pt>
                <c:pt idx="105">
                  <c:v>0.29239679239600003</c:v>
                </c:pt>
                <c:pt idx="106">
                  <c:v>0.27226376614499997</c:v>
                </c:pt>
                <c:pt idx="107">
                  <c:v>0.26766161083599999</c:v>
                </c:pt>
                <c:pt idx="108">
                  <c:v>0.36120486531200002</c:v>
                </c:pt>
                <c:pt idx="109">
                  <c:v>0.33114005639799998</c:v>
                </c:pt>
                <c:pt idx="110">
                  <c:v>0.33362871067700001</c:v>
                </c:pt>
                <c:pt idx="111">
                  <c:v>0.29995886949799999</c:v>
                </c:pt>
                <c:pt idx="112">
                  <c:v>0.34740882917400001</c:v>
                </c:pt>
                <c:pt idx="113">
                  <c:v>0.36897152818099999</c:v>
                </c:pt>
                <c:pt idx="114">
                  <c:v>0.29942212068200003</c:v>
                </c:pt>
                <c:pt idx="115">
                  <c:v>0.37788367811099999</c:v>
                </c:pt>
                <c:pt idx="116">
                  <c:v>0.35932420188600001</c:v>
                </c:pt>
                <c:pt idx="117">
                  <c:v>0.35711577008500001</c:v>
                </c:pt>
                <c:pt idx="118">
                  <c:v>0.33669861118200001</c:v>
                </c:pt>
                <c:pt idx="119">
                  <c:v>0.32794796474999999</c:v>
                </c:pt>
                <c:pt idx="120">
                  <c:v>0.32184700206700001</c:v>
                </c:pt>
                <c:pt idx="121">
                  <c:v>0.31161982753200002</c:v>
                </c:pt>
                <c:pt idx="122">
                  <c:v>0.36494392979000001</c:v>
                </c:pt>
                <c:pt idx="123">
                  <c:v>0.361538857702</c:v>
                </c:pt>
                <c:pt idx="124">
                  <c:v>0.36397000996099999</c:v>
                </c:pt>
                <c:pt idx="125">
                  <c:v>0.29751774835099998</c:v>
                </c:pt>
                <c:pt idx="126">
                  <c:v>0.412653014529</c:v>
                </c:pt>
                <c:pt idx="127">
                  <c:v>0.30831596015700002</c:v>
                </c:pt>
                <c:pt idx="128">
                  <c:v>0.29364068886900002</c:v>
                </c:pt>
                <c:pt idx="129">
                  <c:v>0.35768458621400001</c:v>
                </c:pt>
                <c:pt idx="130">
                  <c:v>0.350814439797</c:v>
                </c:pt>
                <c:pt idx="131">
                  <c:v>0.309787339883</c:v>
                </c:pt>
                <c:pt idx="132">
                  <c:v>0.37346093575099998</c:v>
                </c:pt>
                <c:pt idx="133">
                  <c:v>0.33272656351500002</c:v>
                </c:pt>
                <c:pt idx="134">
                  <c:v>0.29233082706699998</c:v>
                </c:pt>
                <c:pt idx="135">
                  <c:v>0.27345498948500002</c:v>
                </c:pt>
                <c:pt idx="136">
                  <c:v>0.35149863760200001</c:v>
                </c:pt>
                <c:pt idx="137">
                  <c:v>0.33851412356499999</c:v>
                </c:pt>
                <c:pt idx="138">
                  <c:v>0.32162026765899998</c:v>
                </c:pt>
                <c:pt idx="139">
                  <c:v>0.27760028398999997</c:v>
                </c:pt>
                <c:pt idx="140">
                  <c:v>0.27405287544200002</c:v>
                </c:pt>
                <c:pt idx="141">
                  <c:v>0.242877492877</c:v>
                </c:pt>
                <c:pt idx="142">
                  <c:v>0.22426354133599999</c:v>
                </c:pt>
                <c:pt idx="143">
                  <c:v>0.30192999672800003</c:v>
                </c:pt>
                <c:pt idx="144">
                  <c:v>0.29898170124700002</c:v>
                </c:pt>
                <c:pt idx="145">
                  <c:v>0.24409933112900001</c:v>
                </c:pt>
                <c:pt idx="146">
                  <c:v>0.25462962962899999</c:v>
                </c:pt>
                <c:pt idx="147">
                  <c:v>0.27206747744199999</c:v>
                </c:pt>
                <c:pt idx="148">
                  <c:v>0.118740320082</c:v>
                </c:pt>
                <c:pt idx="149">
                  <c:v>0.20359655981200001</c:v>
                </c:pt>
                <c:pt idx="150">
                  <c:v>0.25825299444900002</c:v>
                </c:pt>
                <c:pt idx="151">
                  <c:v>0.24680712600599999</c:v>
                </c:pt>
                <c:pt idx="152">
                  <c:v>0.233737797646</c:v>
                </c:pt>
                <c:pt idx="153">
                  <c:v>0.25234826589499998</c:v>
                </c:pt>
                <c:pt idx="154">
                  <c:v>0.22081139671700001</c:v>
                </c:pt>
                <c:pt idx="155">
                  <c:v>0.18499404525599999</c:v>
                </c:pt>
                <c:pt idx="156">
                  <c:v>9.4777070062999999E-2</c:v>
                </c:pt>
                <c:pt idx="157">
                  <c:v>0.17596932253899999</c:v>
                </c:pt>
                <c:pt idx="158">
                  <c:v>0.24806866952699999</c:v>
                </c:pt>
                <c:pt idx="159">
                  <c:v>0.235870533504</c:v>
                </c:pt>
                <c:pt idx="160">
                  <c:v>0.20078551585400001</c:v>
                </c:pt>
                <c:pt idx="161">
                  <c:v>0.172742336371</c:v>
                </c:pt>
                <c:pt idx="162">
                  <c:v>0.12727272727200001</c:v>
                </c:pt>
                <c:pt idx="163">
                  <c:v>0.11929645679299999</c:v>
                </c:pt>
                <c:pt idx="164">
                  <c:v>0.18337387074299999</c:v>
                </c:pt>
                <c:pt idx="165">
                  <c:v>0.14675437747799999</c:v>
                </c:pt>
                <c:pt idx="166">
                  <c:v>0.15927136851900001</c:v>
                </c:pt>
                <c:pt idx="167">
                  <c:v>0.14495244642999999</c:v>
                </c:pt>
                <c:pt idx="168">
                  <c:v>0.13131313131299999</c:v>
                </c:pt>
                <c:pt idx="169">
                  <c:v>0.10496453900699999</c:v>
                </c:pt>
                <c:pt idx="170">
                  <c:v>0.115475113122</c:v>
                </c:pt>
                <c:pt idx="171">
                  <c:v>0.15072824837099999</c:v>
                </c:pt>
                <c:pt idx="172">
                  <c:v>0.13381374722799999</c:v>
                </c:pt>
                <c:pt idx="173">
                  <c:v>0.134345208228</c:v>
                </c:pt>
                <c:pt idx="174">
                  <c:v>0.12168659844599999</c:v>
                </c:pt>
                <c:pt idx="175">
                  <c:v>0.114302635475</c:v>
                </c:pt>
                <c:pt idx="176">
                  <c:v>0.126802884615</c:v>
                </c:pt>
                <c:pt idx="177">
                  <c:v>9.5374344301000002E-2</c:v>
                </c:pt>
                <c:pt idx="178">
                  <c:v>0.143956889915</c:v>
                </c:pt>
                <c:pt idx="179">
                  <c:v>0.107662163555</c:v>
                </c:pt>
                <c:pt idx="180">
                  <c:v>0.107341894838</c:v>
                </c:pt>
                <c:pt idx="181">
                  <c:v>9.0464547677000004E-2</c:v>
                </c:pt>
                <c:pt idx="182">
                  <c:v>0.114881111407</c:v>
                </c:pt>
                <c:pt idx="183">
                  <c:v>8.1542699723999995E-2</c:v>
                </c:pt>
                <c:pt idx="184">
                  <c:v>6.9500611303999996E-2</c:v>
                </c:pt>
                <c:pt idx="185">
                  <c:v>0.10786690171799999</c:v>
                </c:pt>
                <c:pt idx="186">
                  <c:v>8.2831496419999998E-2</c:v>
                </c:pt>
                <c:pt idx="187">
                  <c:v>7.8923881166999998E-2</c:v>
                </c:pt>
                <c:pt idx="188">
                  <c:v>7.4804614812E-2</c:v>
                </c:pt>
                <c:pt idx="189">
                  <c:v>6.1904761904000002E-2</c:v>
                </c:pt>
                <c:pt idx="190">
                  <c:v>5.9542796384E-2</c:v>
                </c:pt>
                <c:pt idx="191">
                  <c:v>4.8201067308999999E-2</c:v>
                </c:pt>
                <c:pt idx="192">
                  <c:v>8.6421257922000005E-2</c:v>
                </c:pt>
                <c:pt idx="193">
                  <c:v>5.7240766594E-2</c:v>
                </c:pt>
                <c:pt idx="194">
                  <c:v>6.432332432E-2</c:v>
                </c:pt>
                <c:pt idx="195">
                  <c:v>5.2125506071999998E-2</c:v>
                </c:pt>
                <c:pt idx="196">
                  <c:v>4.9898462430999997E-2</c:v>
                </c:pt>
                <c:pt idx="197">
                  <c:v>3.2894736841999998E-2</c:v>
                </c:pt>
                <c:pt idx="198">
                  <c:v>2.7765599883000001E-2</c:v>
                </c:pt>
                <c:pt idx="199">
                  <c:v>4.8360987453999998E-2</c:v>
                </c:pt>
                <c:pt idx="200">
                  <c:v>2.9097963142E-2</c:v>
                </c:pt>
                <c:pt idx="201">
                  <c:v>3.6623748211E-2</c:v>
                </c:pt>
                <c:pt idx="202">
                  <c:v>2.4775736864E-2</c:v>
                </c:pt>
                <c:pt idx="203">
                  <c:v>2.7489309712000001E-2</c:v>
                </c:pt>
                <c:pt idx="204">
                  <c:v>2.9482551143E-2</c:v>
                </c:pt>
                <c:pt idx="205">
                  <c:v>1.7526172935000001E-2</c:v>
                </c:pt>
                <c:pt idx="206">
                  <c:v>2.0521257251E-2</c:v>
                </c:pt>
                <c:pt idx="207">
                  <c:v>2.743902439E-2</c:v>
                </c:pt>
                <c:pt idx="208">
                  <c:v>2.2098765432000001E-2</c:v>
                </c:pt>
                <c:pt idx="209">
                  <c:v>1.7897091721999998E-2</c:v>
                </c:pt>
                <c:pt idx="210">
                  <c:v>2.3263224983999999E-2</c:v>
                </c:pt>
                <c:pt idx="211">
                  <c:v>1.2917115177E-2</c:v>
                </c:pt>
                <c:pt idx="212">
                  <c:v>1.5284233106E-2</c:v>
                </c:pt>
                <c:pt idx="213">
                  <c:v>1.9261637238999998E-2</c:v>
                </c:pt>
                <c:pt idx="214">
                  <c:v>1.3384813384000001E-2</c:v>
                </c:pt>
                <c:pt idx="215">
                  <c:v>1.2745947283000001E-2</c:v>
                </c:pt>
                <c:pt idx="216">
                  <c:v>1.0179294389000001E-2</c:v>
                </c:pt>
                <c:pt idx="217">
                  <c:v>1.3656538067E-2</c:v>
                </c:pt>
                <c:pt idx="218">
                  <c:v>9.0634441079999999E-3</c:v>
                </c:pt>
                <c:pt idx="219">
                  <c:v>6.0781746769999999E-3</c:v>
                </c:pt>
                <c:pt idx="220">
                  <c:v>1.198388721E-2</c:v>
                </c:pt>
                <c:pt idx="221">
                  <c:v>8.812421317E-3</c:v>
                </c:pt>
                <c:pt idx="222">
                  <c:v>7.7840344480000004E-3</c:v>
                </c:pt>
                <c:pt idx="223">
                  <c:v>7.4317564669999997E-3</c:v>
                </c:pt>
                <c:pt idx="224">
                  <c:v>6.4912880080000004E-3</c:v>
                </c:pt>
                <c:pt idx="225">
                  <c:v>6.7985166870000004E-3</c:v>
                </c:pt>
                <c:pt idx="226">
                  <c:v>6.8296680780000002E-3</c:v>
                </c:pt>
                <c:pt idx="227">
                  <c:v>6.7133266669999999E-3</c:v>
                </c:pt>
                <c:pt idx="228">
                  <c:v>7.840644204E-3</c:v>
                </c:pt>
                <c:pt idx="229">
                  <c:v>4.6355498720000001E-3</c:v>
                </c:pt>
                <c:pt idx="230">
                  <c:v>6.5975494809999997E-3</c:v>
                </c:pt>
                <c:pt idx="231">
                  <c:v>6.4516129030000001E-3</c:v>
                </c:pt>
                <c:pt idx="232">
                  <c:v>7.067137809E-3</c:v>
                </c:pt>
                <c:pt idx="233">
                  <c:v>4.0934900299999999E-3</c:v>
                </c:pt>
                <c:pt idx="234">
                  <c:v>5.4330457010000003E-3</c:v>
                </c:pt>
                <c:pt idx="235">
                  <c:v>7.9928952040000008E-3</c:v>
                </c:pt>
                <c:pt idx="236">
                  <c:v>4.3349304119999999E-3</c:v>
                </c:pt>
                <c:pt idx="237">
                  <c:v>6.8700747619999999E-3</c:v>
                </c:pt>
                <c:pt idx="238">
                  <c:v>3.9257673090000002E-3</c:v>
                </c:pt>
                <c:pt idx="239">
                  <c:v>9.3896713609999995E-3</c:v>
                </c:pt>
                <c:pt idx="240">
                  <c:v>5.4237288129999998E-3</c:v>
                </c:pt>
                <c:pt idx="241">
                  <c:v>6.975662687E-3</c:v>
                </c:pt>
                <c:pt idx="242">
                  <c:v>4.9522461970000001E-3</c:v>
                </c:pt>
                <c:pt idx="243">
                  <c:v>7.5381503950000001E-3</c:v>
                </c:pt>
                <c:pt idx="244">
                  <c:v>6.1554695739999997E-3</c:v>
                </c:pt>
                <c:pt idx="245">
                  <c:v>8.4933530280000002E-3</c:v>
                </c:pt>
                <c:pt idx="246">
                  <c:v>7.2904009720000003E-3</c:v>
                </c:pt>
                <c:pt idx="247">
                  <c:v>2.3333333333E-2</c:v>
                </c:pt>
                <c:pt idx="248">
                  <c:v>1.8656716417000001E-2</c:v>
                </c:pt>
                <c:pt idx="249">
                  <c:v>1.51338766E-2</c:v>
                </c:pt>
                <c:pt idx="250">
                  <c:v>1.0458911418999999E-2</c:v>
                </c:pt>
                <c:pt idx="251">
                  <c:v>1.5920826161000001E-2</c:v>
                </c:pt>
                <c:pt idx="252">
                  <c:v>1.2724306688E-2</c:v>
                </c:pt>
                <c:pt idx="253">
                  <c:v>1.4350945857000001E-2</c:v>
                </c:pt>
                <c:pt idx="254">
                  <c:v>1.3327691982E-2</c:v>
                </c:pt>
                <c:pt idx="255">
                  <c:v>1.9167717527999999E-2</c:v>
                </c:pt>
                <c:pt idx="256">
                  <c:v>1.2590409857999999E-2</c:v>
                </c:pt>
                <c:pt idx="257">
                  <c:v>1.1801896733E-2</c:v>
                </c:pt>
                <c:pt idx="258">
                  <c:v>9.3426193299999995E-3</c:v>
                </c:pt>
                <c:pt idx="259">
                  <c:v>1.1502265596999999E-2</c:v>
                </c:pt>
                <c:pt idx="260">
                  <c:v>1.3430330161999999E-2</c:v>
                </c:pt>
                <c:pt idx="261">
                  <c:v>1.4684641308999999E-2</c:v>
                </c:pt>
                <c:pt idx="262">
                  <c:v>1.5287551565E-2</c:v>
                </c:pt>
                <c:pt idx="263">
                  <c:v>1.4366341713000001E-2</c:v>
                </c:pt>
                <c:pt idx="264">
                  <c:v>1.078008624E-2</c:v>
                </c:pt>
                <c:pt idx="265">
                  <c:v>9.7181729829999997E-3</c:v>
                </c:pt>
                <c:pt idx="266">
                  <c:v>9.8613251149999998E-3</c:v>
                </c:pt>
                <c:pt idx="267">
                  <c:v>8.4269662919999998E-3</c:v>
                </c:pt>
                <c:pt idx="268">
                  <c:v>1.3746563359E-2</c:v>
                </c:pt>
                <c:pt idx="269">
                  <c:v>1.5274698200999999E-2</c:v>
                </c:pt>
                <c:pt idx="270">
                  <c:v>9.7898070830000003E-3</c:v>
                </c:pt>
                <c:pt idx="271">
                  <c:v>1.3772749631E-2</c:v>
                </c:pt>
                <c:pt idx="272">
                  <c:v>7.6653526059999996E-3</c:v>
                </c:pt>
                <c:pt idx="273">
                  <c:v>7.121057985E-3</c:v>
                </c:pt>
                <c:pt idx="274">
                  <c:v>9.6774193540000008E-3</c:v>
                </c:pt>
                <c:pt idx="275">
                  <c:v>5.5555555550000002E-3</c:v>
                </c:pt>
                <c:pt idx="276">
                  <c:v>1.7153748411000001E-2</c:v>
                </c:pt>
                <c:pt idx="277">
                  <c:v>2.1589793914999999E-2</c:v>
                </c:pt>
                <c:pt idx="278">
                  <c:v>7.5362318839999999E-3</c:v>
                </c:pt>
                <c:pt idx="279">
                  <c:v>8.0160320640000008E-3</c:v>
                </c:pt>
                <c:pt idx="280">
                  <c:v>7.8883495139999999E-3</c:v>
                </c:pt>
                <c:pt idx="281">
                  <c:v>1.6467065868000001E-2</c:v>
                </c:pt>
                <c:pt idx="282">
                  <c:v>8.8709677409999996E-3</c:v>
                </c:pt>
                <c:pt idx="283">
                  <c:v>2.0202020202000001E-2</c:v>
                </c:pt>
                <c:pt idx="284">
                  <c:v>1.4276228419E-2</c:v>
                </c:pt>
                <c:pt idx="285">
                  <c:v>1.094470046E-2</c:v>
                </c:pt>
                <c:pt idx="286">
                  <c:v>8.7936865829999992E-3</c:v>
                </c:pt>
                <c:pt idx="287">
                  <c:v>1.5761821366E-2</c:v>
                </c:pt>
                <c:pt idx="288">
                  <c:v>8.0710250200000007E-3</c:v>
                </c:pt>
                <c:pt idx="289">
                  <c:v>1.3035921205E-2</c:v>
                </c:pt>
                <c:pt idx="290">
                  <c:v>1.8809849521E-2</c:v>
                </c:pt>
                <c:pt idx="291">
                  <c:v>1.8973214285000001E-2</c:v>
                </c:pt>
                <c:pt idx="292">
                  <c:v>1.0919337794000001E-2</c:v>
                </c:pt>
                <c:pt idx="293">
                  <c:v>7.8698845749999996E-3</c:v>
                </c:pt>
                <c:pt idx="294">
                  <c:v>1.6643550624000001E-2</c:v>
                </c:pt>
                <c:pt idx="295">
                  <c:v>1.1637572734E-2</c:v>
                </c:pt>
                <c:pt idx="296">
                  <c:v>1.5410958904E-2</c:v>
                </c:pt>
                <c:pt idx="297">
                  <c:v>2.4297646164999999E-2</c:v>
                </c:pt>
                <c:pt idx="298">
                  <c:v>2.1882598124000001E-2</c:v>
                </c:pt>
                <c:pt idx="299">
                  <c:v>1.5589353612E-2</c:v>
                </c:pt>
                <c:pt idx="300">
                  <c:v>1.1126095751000001E-2</c:v>
                </c:pt>
                <c:pt idx="301">
                  <c:v>2.3718439173000001E-2</c:v>
                </c:pt>
                <c:pt idx="302">
                  <c:v>9.0090090090000005E-3</c:v>
                </c:pt>
                <c:pt idx="303">
                  <c:v>1.2559808612E-2</c:v>
                </c:pt>
                <c:pt idx="304">
                  <c:v>1.7149283102999999E-2</c:v>
                </c:pt>
                <c:pt idx="305">
                  <c:v>1.8462316640999999E-2</c:v>
                </c:pt>
                <c:pt idx="306">
                  <c:v>3.4256055362999999E-2</c:v>
                </c:pt>
                <c:pt idx="307">
                  <c:v>2.3529411763999999E-2</c:v>
                </c:pt>
                <c:pt idx="308">
                  <c:v>2.5910931174E-2</c:v>
                </c:pt>
                <c:pt idx="309">
                  <c:v>3.0333670374000001E-2</c:v>
                </c:pt>
                <c:pt idx="310">
                  <c:v>2.4648698455999998E-2</c:v>
                </c:pt>
                <c:pt idx="311">
                  <c:v>3.5744441316999997E-2</c:v>
                </c:pt>
                <c:pt idx="312">
                  <c:v>2.5092081031E-2</c:v>
                </c:pt>
                <c:pt idx="313">
                  <c:v>3.1707966959000002E-2</c:v>
                </c:pt>
                <c:pt idx="314">
                  <c:v>2.9230769229999998E-2</c:v>
                </c:pt>
                <c:pt idx="315">
                  <c:v>3.1665611146E-2</c:v>
                </c:pt>
                <c:pt idx="316">
                  <c:v>2.2569444444000001E-2</c:v>
                </c:pt>
                <c:pt idx="317">
                  <c:v>2.7516778523E-2</c:v>
                </c:pt>
                <c:pt idx="318">
                  <c:v>3.7471783294999998E-2</c:v>
                </c:pt>
                <c:pt idx="319">
                  <c:v>2.55560814E-2</c:v>
                </c:pt>
                <c:pt idx="320">
                  <c:v>3.1757070004E-2</c:v>
                </c:pt>
                <c:pt idx="321">
                  <c:v>3.0026109660000001E-2</c:v>
                </c:pt>
                <c:pt idx="322">
                  <c:v>2.9835390946E-2</c:v>
                </c:pt>
                <c:pt idx="323">
                  <c:v>2.1612635078E-2</c:v>
                </c:pt>
                <c:pt idx="324">
                  <c:v>2.7095254123000002E-2</c:v>
                </c:pt>
                <c:pt idx="325">
                  <c:v>2.8429134674999999E-2</c:v>
                </c:pt>
                <c:pt idx="326">
                  <c:v>2.4422154381999999E-2</c:v>
                </c:pt>
                <c:pt idx="327">
                  <c:v>2.2968197879E-2</c:v>
                </c:pt>
                <c:pt idx="328">
                  <c:v>2.3709609735000001E-2</c:v>
                </c:pt>
                <c:pt idx="329">
                  <c:v>3.5951327433000002E-2</c:v>
                </c:pt>
                <c:pt idx="330">
                  <c:v>3.8619556285000002E-2</c:v>
                </c:pt>
                <c:pt idx="331">
                  <c:v>4.0479041915999998E-2</c:v>
                </c:pt>
                <c:pt idx="332">
                  <c:v>5.2115266707000001E-2</c:v>
                </c:pt>
                <c:pt idx="333">
                  <c:v>3.9744645799E-2</c:v>
                </c:pt>
                <c:pt idx="334">
                  <c:v>5.3193762015999999E-2</c:v>
                </c:pt>
                <c:pt idx="335">
                  <c:v>4.0391676866000002E-2</c:v>
                </c:pt>
                <c:pt idx="336">
                  <c:v>7.0036861505999998E-2</c:v>
                </c:pt>
                <c:pt idx="337">
                  <c:v>5.1342812006000001E-2</c:v>
                </c:pt>
                <c:pt idx="338">
                  <c:v>4.0286975716999997E-2</c:v>
                </c:pt>
                <c:pt idx="339">
                  <c:v>5.9535822400999999E-2</c:v>
                </c:pt>
                <c:pt idx="340">
                  <c:v>5.2302100161000002E-2</c:v>
                </c:pt>
                <c:pt idx="341">
                  <c:v>5.5408388519999997E-2</c:v>
                </c:pt>
                <c:pt idx="342">
                  <c:v>5.2380952379999998E-2</c:v>
                </c:pt>
                <c:pt idx="343">
                  <c:v>5.4241200230000002E-2</c:v>
                </c:pt>
                <c:pt idx="344">
                  <c:v>4.4787077825999999E-2</c:v>
                </c:pt>
                <c:pt idx="345">
                  <c:v>6.3023679417000003E-2</c:v>
                </c:pt>
                <c:pt idx="346">
                  <c:v>7.3803574859999999E-2</c:v>
                </c:pt>
                <c:pt idx="347">
                  <c:v>6.9589422407000001E-2</c:v>
                </c:pt>
                <c:pt idx="348">
                  <c:v>7.4556936239000005E-2</c:v>
                </c:pt>
                <c:pt idx="349">
                  <c:v>7.6504649938000005E-2</c:v>
                </c:pt>
                <c:pt idx="350">
                  <c:v>9.6079276174E-2</c:v>
                </c:pt>
                <c:pt idx="351">
                  <c:v>9.2727272727000001E-2</c:v>
                </c:pt>
                <c:pt idx="352">
                  <c:v>0.102792054452</c:v>
                </c:pt>
                <c:pt idx="353">
                  <c:v>0.122040339082</c:v>
                </c:pt>
                <c:pt idx="354">
                  <c:v>0.118821696643</c:v>
                </c:pt>
                <c:pt idx="355">
                  <c:v>0.12961223668300001</c:v>
                </c:pt>
                <c:pt idx="356">
                  <c:v>0.14437689969600001</c:v>
                </c:pt>
                <c:pt idx="357">
                  <c:v>0.15615240474700001</c:v>
                </c:pt>
                <c:pt idx="358">
                  <c:v>0.14271891630299999</c:v>
                </c:pt>
                <c:pt idx="359">
                  <c:v>0.13785072640500001</c:v>
                </c:pt>
                <c:pt idx="360">
                  <c:v>0.182339206113</c:v>
                </c:pt>
                <c:pt idx="361">
                  <c:v>0.18155328925200001</c:v>
                </c:pt>
                <c:pt idx="362">
                  <c:v>0.242456896551</c:v>
                </c:pt>
                <c:pt idx="363">
                  <c:v>0.204150989197</c:v>
                </c:pt>
                <c:pt idx="364">
                  <c:v>0.25055706858100002</c:v>
                </c:pt>
                <c:pt idx="365">
                  <c:v>0.15888169110100001</c:v>
                </c:pt>
                <c:pt idx="366">
                  <c:v>0.20678303475699999</c:v>
                </c:pt>
                <c:pt idx="367">
                  <c:v>0.26439161212700002</c:v>
                </c:pt>
                <c:pt idx="368">
                  <c:v>0.28056276464899998</c:v>
                </c:pt>
                <c:pt idx="369">
                  <c:v>0.27246236036900001</c:v>
                </c:pt>
                <c:pt idx="370">
                  <c:v>0.28011753183100002</c:v>
                </c:pt>
                <c:pt idx="371">
                  <c:v>0.27773861553599999</c:v>
                </c:pt>
                <c:pt idx="372">
                  <c:v>0.23839362005100001</c:v>
                </c:pt>
                <c:pt idx="373">
                  <c:v>0.24919349529199999</c:v>
                </c:pt>
                <c:pt idx="374">
                  <c:v>0.315255172413</c:v>
                </c:pt>
                <c:pt idx="375">
                  <c:v>0.30981768769099999</c:v>
                </c:pt>
                <c:pt idx="376">
                  <c:v>0.26545714967700001</c:v>
                </c:pt>
                <c:pt idx="377">
                  <c:v>0.289350941275</c:v>
                </c:pt>
                <c:pt idx="378">
                  <c:v>0.31213872832299999</c:v>
                </c:pt>
                <c:pt idx="379">
                  <c:v>0.26748729972599999</c:v>
                </c:pt>
                <c:pt idx="380">
                  <c:v>0.244874519037</c:v>
                </c:pt>
                <c:pt idx="381">
                  <c:v>0.34249911441699998</c:v>
                </c:pt>
                <c:pt idx="382">
                  <c:v>0.36809332387400001</c:v>
                </c:pt>
                <c:pt idx="383">
                  <c:v>0.28047626996000002</c:v>
                </c:pt>
                <c:pt idx="384">
                  <c:v>0.36769340673099998</c:v>
                </c:pt>
                <c:pt idx="385">
                  <c:v>0.390550152416</c:v>
                </c:pt>
                <c:pt idx="386">
                  <c:v>0.34314903846099998</c:v>
                </c:pt>
                <c:pt idx="387">
                  <c:v>0.279709846692</c:v>
                </c:pt>
                <c:pt idx="388">
                  <c:v>0.35023981268100002</c:v>
                </c:pt>
                <c:pt idx="389">
                  <c:v>0.284428215047</c:v>
                </c:pt>
                <c:pt idx="390">
                  <c:v>0.478153894995</c:v>
                </c:pt>
                <c:pt idx="391">
                  <c:v>0.37667577222100002</c:v>
                </c:pt>
                <c:pt idx="392">
                  <c:v>0.36690932109500002</c:v>
                </c:pt>
                <c:pt idx="393">
                  <c:v>0.36031724326499998</c:v>
                </c:pt>
                <c:pt idx="394">
                  <c:v>0.31278340569200003</c:v>
                </c:pt>
                <c:pt idx="395">
                  <c:v>0.35205394029100001</c:v>
                </c:pt>
                <c:pt idx="396">
                  <c:v>0.36283506399400001</c:v>
                </c:pt>
                <c:pt idx="397">
                  <c:v>0.349799196787</c:v>
                </c:pt>
                <c:pt idx="398">
                  <c:v>0.34603085026300001</c:v>
                </c:pt>
                <c:pt idx="399">
                  <c:v>0.33613752743199998</c:v>
                </c:pt>
                <c:pt idx="400">
                  <c:v>0.281671415004</c:v>
                </c:pt>
                <c:pt idx="401">
                  <c:v>0.29825880719600001</c:v>
                </c:pt>
                <c:pt idx="402">
                  <c:v>0.34106878698199999</c:v>
                </c:pt>
                <c:pt idx="403">
                  <c:v>0.33240677610500002</c:v>
                </c:pt>
                <c:pt idx="404">
                  <c:v>0.31392086124899998</c:v>
                </c:pt>
                <c:pt idx="405">
                  <c:v>0.29820132533900001</c:v>
                </c:pt>
                <c:pt idx="406">
                  <c:v>0.31064044377200001</c:v>
                </c:pt>
                <c:pt idx="407">
                  <c:v>0.222568093385</c:v>
                </c:pt>
                <c:pt idx="408">
                  <c:v>0.24970788370300001</c:v>
                </c:pt>
                <c:pt idx="409">
                  <c:v>0.322801969789</c:v>
                </c:pt>
                <c:pt idx="410">
                  <c:v>0.27835810901199998</c:v>
                </c:pt>
                <c:pt idx="411">
                  <c:v>0.25340376460000003</c:v>
                </c:pt>
                <c:pt idx="412">
                  <c:v>0.25027271310499999</c:v>
                </c:pt>
                <c:pt idx="413">
                  <c:v>0.25709860609099999</c:v>
                </c:pt>
                <c:pt idx="414">
                  <c:v>0.16606929510099999</c:v>
                </c:pt>
                <c:pt idx="415">
                  <c:v>0.210486577181</c:v>
                </c:pt>
                <c:pt idx="416">
                  <c:v>0.30263157894699999</c:v>
                </c:pt>
              </c:numCache>
            </c:numRef>
          </c:val>
          <c:smooth val="0"/>
          <c:extLst>
            <c:ext xmlns:c16="http://schemas.microsoft.com/office/drawing/2014/chart" uri="{C3380CC4-5D6E-409C-BE32-E72D297353CC}">
              <c16:uniqueId val="{00000001-B2C4-4F8B-BFF0-E6161AC7AB47}"/>
            </c:ext>
          </c:extLst>
        </c:ser>
        <c:dLbls>
          <c:showLegendKey val="0"/>
          <c:showVal val="0"/>
          <c:showCatName val="0"/>
          <c:showSerName val="0"/>
          <c:showPercent val="0"/>
          <c:showBubbleSize val="0"/>
        </c:dLbls>
        <c:marker val="1"/>
        <c:smooth val="0"/>
        <c:axId val="414862472"/>
        <c:axId val="414859336"/>
      </c:lineChart>
      <c:dateAx>
        <c:axId val="414862472"/>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414859336"/>
        <c:crosses val="autoZero"/>
        <c:auto val="1"/>
        <c:lblOffset val="100"/>
        <c:baseTimeUnit val="days"/>
        <c:majorUnit val="5"/>
        <c:majorTimeUnit val="days"/>
        <c:minorUnit val="5"/>
        <c:minorTimeUnit val="days"/>
      </c:dateAx>
      <c:valAx>
        <c:axId val="414859336"/>
        <c:scaling>
          <c:orientation val="minMax"/>
          <c:max val="0.70000000000000007"/>
        </c:scaling>
        <c:delete val="0"/>
        <c:axPos val="l"/>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4862472"/>
        <c:crosses val="autoZero"/>
        <c:crossBetween val="between"/>
        <c:majorUnit val="0.1"/>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cs-CZ"/>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F$1</c:f>
              <c:strCache>
                <c:ptCount val="1"/>
                <c:pt idx="0">
                  <c:v>12–19 let</c:v>
                </c:pt>
              </c:strCache>
            </c:strRef>
          </c:tx>
          <c:spPr>
            <a:ln w="28575" cap="rnd">
              <a:solidFill>
                <a:schemeClr val="accent1"/>
              </a:solidFill>
              <a:round/>
            </a:ln>
            <a:effectLst/>
          </c:spPr>
          <c:marker>
            <c:symbol val="none"/>
          </c:marker>
          <c:dLbls>
            <c:dLbl>
              <c:idx val="16"/>
              <c:layout>
                <c:manualLayout>
                  <c:x val="-1.4618162915429212E-16"/>
                  <c:y val="5.5199831357995534E-2"/>
                </c:manualLayout>
              </c:layout>
              <c:tx>
                <c:rich>
                  <a:bodyPr/>
                  <a:lstStyle/>
                  <a:p>
                    <a:r>
                      <a:rPr lang="en-US" baseline="0" dirty="0"/>
                      <a:t>8,90 </a:t>
                    </a:r>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4E-4CDC-B0EC-630E56AA478D}"/>
                </c:ext>
              </c:extLst>
            </c:dLbl>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F$2:$F$18</c:f>
              <c:numCache>
                <c:formatCode>General</c:formatCode>
                <c:ptCount val="17"/>
                <c:pt idx="0">
                  <c:v>0.47338523038000002</c:v>
                </c:pt>
                <c:pt idx="1">
                  <c:v>0.91022869495900005</c:v>
                </c:pt>
                <c:pt idx="2">
                  <c:v>1.7964510925349999</c:v>
                </c:pt>
                <c:pt idx="3">
                  <c:v>1.759173246632</c:v>
                </c:pt>
                <c:pt idx="4">
                  <c:v>1.567130443518</c:v>
                </c:pt>
                <c:pt idx="5">
                  <c:v>2.4205260609970001</c:v>
                </c:pt>
                <c:pt idx="6">
                  <c:v>3.3735613438319998</c:v>
                </c:pt>
                <c:pt idx="7">
                  <c:v>4.9059939482540003</c:v>
                </c:pt>
                <c:pt idx="8">
                  <c:v>6.9694234196689999</c:v>
                </c:pt>
                <c:pt idx="9">
                  <c:v>8.1122324407910007</c:v>
                </c:pt>
                <c:pt idx="10">
                  <c:v>9.8113063261129998</c:v>
                </c:pt>
                <c:pt idx="11">
                  <c:v>11.787115645287001</c:v>
                </c:pt>
                <c:pt idx="12">
                  <c:v>14.655754055559999</c:v>
                </c:pt>
                <c:pt idx="13">
                  <c:v>15.722220580848999</c:v>
                </c:pt>
                <c:pt idx="14">
                  <c:v>13.595905651980001</c:v>
                </c:pt>
                <c:pt idx="15">
                  <c:v>11.245130624352001</c:v>
                </c:pt>
                <c:pt idx="16">
                  <c:v>8.9006416169559994</c:v>
                </c:pt>
              </c:numCache>
            </c:numRef>
          </c:val>
          <c:smooth val="0"/>
          <c:extLst>
            <c:ext xmlns:c16="http://schemas.microsoft.com/office/drawing/2014/chart" uri="{C3380CC4-5D6E-409C-BE32-E72D297353CC}">
              <c16:uniqueId val="{00000001-DC4E-4CDC-B0EC-630E56AA478D}"/>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D$1</c:f>
              <c:strCache>
                <c:ptCount val="1"/>
                <c:pt idx="0">
                  <c:v>30-59 let</c:v>
                </c:pt>
              </c:strCache>
            </c:strRef>
          </c:tx>
          <c:spPr>
            <a:ln w="28575" cap="rnd">
              <a:solidFill>
                <a:schemeClr val="accent1"/>
              </a:solidFill>
              <a:round/>
            </a:ln>
            <a:effectLst/>
          </c:spPr>
          <c:marker>
            <c:symbol val="none"/>
          </c:marker>
          <c:dLbls>
            <c:dLbl>
              <c:idx val="16"/>
              <c:layout>
                <c:manualLayout>
                  <c:x val="-1.5947271038939594E-2"/>
                  <c:y val="7.8199761090493633E-2"/>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E11-48D5-B930-DDB64228FAA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D$2:$D$18</c:f>
              <c:numCache>
                <c:formatCode>General</c:formatCode>
                <c:ptCount val="17"/>
                <c:pt idx="0">
                  <c:v>0.58671081995499996</c:v>
                </c:pt>
                <c:pt idx="1">
                  <c:v>1.0144985421570001</c:v>
                </c:pt>
                <c:pt idx="2">
                  <c:v>0.87370338699399996</c:v>
                </c:pt>
                <c:pt idx="3">
                  <c:v>1.278568003835</c:v>
                </c:pt>
                <c:pt idx="4">
                  <c:v>1.5580839191239999</c:v>
                </c:pt>
                <c:pt idx="5">
                  <c:v>2.011088536106</c:v>
                </c:pt>
                <c:pt idx="6">
                  <c:v>2.8798090876839999</c:v>
                </c:pt>
                <c:pt idx="7">
                  <c:v>4.1468316936420004</c:v>
                </c:pt>
                <c:pt idx="8">
                  <c:v>5.6016960690869997</c:v>
                </c:pt>
                <c:pt idx="9">
                  <c:v>7.8926475664479998</c:v>
                </c:pt>
                <c:pt idx="10">
                  <c:v>12.196645417301999</c:v>
                </c:pt>
                <c:pt idx="11">
                  <c:v>13.42495015665</c:v>
                </c:pt>
                <c:pt idx="12">
                  <c:v>15.605407264358</c:v>
                </c:pt>
                <c:pt idx="13">
                  <c:v>16.531902206320002</c:v>
                </c:pt>
                <c:pt idx="14">
                  <c:v>15.451924479195</c:v>
                </c:pt>
                <c:pt idx="15">
                  <c:v>15.042449749655001</c:v>
                </c:pt>
                <c:pt idx="16">
                  <c:v>14.539210876725001</c:v>
                </c:pt>
              </c:numCache>
            </c:numRef>
          </c:val>
          <c:smooth val="0"/>
          <c:extLst>
            <c:ext xmlns:c16="http://schemas.microsoft.com/office/drawing/2014/chart" uri="{C3380CC4-5D6E-409C-BE32-E72D297353CC}">
              <c16:uniqueId val="{00000001-0E11-48D5-B930-DDB64228FAA8}"/>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At val="0"/>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B$1</c:f>
              <c:strCache>
                <c:ptCount val="1"/>
                <c:pt idx="0">
                  <c:v>20-29 let</c:v>
                </c:pt>
              </c:strCache>
            </c:strRef>
          </c:tx>
          <c:spPr>
            <a:ln w="28575" cap="rnd">
              <a:solidFill>
                <a:schemeClr val="accent1"/>
              </a:solidFill>
              <a:round/>
            </a:ln>
            <a:effectLst/>
          </c:spPr>
          <c:marker>
            <c:symbol val="none"/>
          </c:marker>
          <c:dLbls>
            <c:dLbl>
              <c:idx val="16"/>
              <c:layout>
                <c:manualLayout>
                  <c:x val="-1.5714968271836931E-2"/>
                  <c:y val="6.259240719800005E-2"/>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r>
                      <a:rPr lang="en-US" dirty="0"/>
                      <a:t>10,53%</a:t>
                    </a:r>
                  </a:p>
                </c:rich>
              </c:tx>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8DC-41DF-85C9-EEB8650C147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B$2:$B$18</c:f>
              <c:numCache>
                <c:formatCode>General</c:formatCode>
                <c:ptCount val="17"/>
                <c:pt idx="0">
                  <c:v>0.44839393445199999</c:v>
                </c:pt>
                <c:pt idx="1">
                  <c:v>0.55921349328000003</c:v>
                </c:pt>
                <c:pt idx="2">
                  <c:v>0.53419739031400004</c:v>
                </c:pt>
                <c:pt idx="3">
                  <c:v>0.72866730584799999</c:v>
                </c:pt>
                <c:pt idx="4">
                  <c:v>0.99889012208600003</c:v>
                </c:pt>
                <c:pt idx="5">
                  <c:v>1.7345892007829999</c:v>
                </c:pt>
                <c:pt idx="6">
                  <c:v>1.9647447668010001</c:v>
                </c:pt>
                <c:pt idx="7">
                  <c:v>2.4263839811539998</c:v>
                </c:pt>
                <c:pt idx="8">
                  <c:v>3.7058557686090001</c:v>
                </c:pt>
                <c:pt idx="9">
                  <c:v>5.1927098894529999</c:v>
                </c:pt>
                <c:pt idx="10">
                  <c:v>8.7760090621830003</c:v>
                </c:pt>
                <c:pt idx="11">
                  <c:v>9.629401498819</c:v>
                </c:pt>
                <c:pt idx="12">
                  <c:v>11.020324788070001</c:v>
                </c:pt>
                <c:pt idx="13">
                  <c:v>13.251588122322</c:v>
                </c:pt>
                <c:pt idx="14">
                  <c:v>12.422294245789001</c:v>
                </c:pt>
                <c:pt idx="15">
                  <c:v>11.730825741992</c:v>
                </c:pt>
                <c:pt idx="16">
                  <c:v>10.527355322930999</c:v>
                </c:pt>
              </c:numCache>
            </c:numRef>
          </c:val>
          <c:smooth val="0"/>
          <c:extLst>
            <c:ext xmlns:c16="http://schemas.microsoft.com/office/drawing/2014/chart" uri="{C3380CC4-5D6E-409C-BE32-E72D297353CC}">
              <c16:uniqueId val="{00000001-A8DC-41DF-85C9-EEB8650C1471}"/>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At val="0"/>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B$1</c:f>
              <c:strCache>
                <c:ptCount val="1"/>
                <c:pt idx="0">
                  <c:v>20-29 let</c:v>
                </c:pt>
              </c:strCache>
            </c:strRef>
          </c:tx>
          <c:spPr>
            <a:ln w="28575" cap="rnd">
              <a:solidFill>
                <a:schemeClr val="accent1"/>
              </a:solidFill>
              <a:round/>
            </a:ln>
            <a:effectLst/>
          </c:spPr>
          <c:marker>
            <c:symbol val="none"/>
          </c:marker>
          <c:dLbls>
            <c:dLbl>
              <c:idx val="16"/>
              <c:layout>
                <c:manualLayout>
                  <c:x val="-4.6912804979406385E-2"/>
                  <c:y val="5.4125284133147031E-2"/>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CFE-413A-BD75-2190FD42981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B$2:$B$18</c:f>
              <c:numCache>
                <c:formatCode>General</c:formatCode>
                <c:ptCount val="17"/>
                <c:pt idx="0">
                  <c:v>1.9961365099799999</c:v>
                </c:pt>
                <c:pt idx="1">
                  <c:v>2.5786163522010002</c:v>
                </c:pt>
                <c:pt idx="2">
                  <c:v>2.6701570680620001</c:v>
                </c:pt>
                <c:pt idx="3">
                  <c:v>2.7967408059890002</c:v>
                </c:pt>
                <c:pt idx="4">
                  <c:v>3.1592689295029999</c:v>
                </c:pt>
                <c:pt idx="5">
                  <c:v>4.2387178405729999</c:v>
                </c:pt>
                <c:pt idx="6">
                  <c:v>4.8597305058530003</c:v>
                </c:pt>
                <c:pt idx="7">
                  <c:v>7.3676132003059998</c:v>
                </c:pt>
                <c:pt idx="8">
                  <c:v>12.005048114844</c:v>
                </c:pt>
                <c:pt idx="9">
                  <c:v>19.295756481362002</c:v>
                </c:pt>
                <c:pt idx="10">
                  <c:v>25.754242614707</c:v>
                </c:pt>
                <c:pt idx="11">
                  <c:v>27.377963737796001</c:v>
                </c:pt>
                <c:pt idx="12">
                  <c:v>30.938600905887998</c:v>
                </c:pt>
                <c:pt idx="13">
                  <c:v>32.153256704980002</c:v>
                </c:pt>
                <c:pt idx="14">
                  <c:v>30.721814707514</c:v>
                </c:pt>
                <c:pt idx="15">
                  <c:v>27.262016965127</c:v>
                </c:pt>
                <c:pt idx="16">
                  <c:v>23.237521848901999</c:v>
                </c:pt>
              </c:numCache>
            </c:numRef>
          </c:val>
          <c:smooth val="0"/>
          <c:extLst>
            <c:ext xmlns:c16="http://schemas.microsoft.com/office/drawing/2014/chart" uri="{C3380CC4-5D6E-409C-BE32-E72D297353CC}">
              <c16:uniqueId val="{00000000-8F86-4857-841A-55D66F44B67C}"/>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F$1</c:f>
              <c:strCache>
                <c:ptCount val="1"/>
                <c:pt idx="0">
                  <c:v>60+ let</c:v>
                </c:pt>
              </c:strCache>
            </c:strRef>
          </c:tx>
          <c:spPr>
            <a:ln w="28575" cap="rnd">
              <a:solidFill>
                <a:schemeClr val="accent1"/>
              </a:solidFill>
              <a:round/>
            </a:ln>
            <a:effectLst/>
          </c:spPr>
          <c:marker>
            <c:symbol val="none"/>
          </c:marker>
          <c:dLbls>
            <c:dLbl>
              <c:idx val="16"/>
              <c:layout>
                <c:manualLayout>
                  <c:x val="-1.1728201244851596E-2"/>
                  <c:y val="5.63643236022276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3BA-40DA-B60C-C8A480E48534}"/>
                </c:ext>
              </c:extLst>
            </c:dLbl>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F$2:$F$18</c:f>
              <c:numCache>
                <c:formatCode>General</c:formatCode>
                <c:ptCount val="17"/>
                <c:pt idx="0">
                  <c:v>1.129032258064</c:v>
                </c:pt>
                <c:pt idx="1">
                  <c:v>3.2061068702290001</c:v>
                </c:pt>
                <c:pt idx="2">
                  <c:v>2.9850746268649999</c:v>
                </c:pt>
                <c:pt idx="3">
                  <c:v>3.2273603082850002</c:v>
                </c:pt>
                <c:pt idx="4">
                  <c:v>3.466734641855</c:v>
                </c:pt>
                <c:pt idx="5">
                  <c:v>4.6689474743400003</c:v>
                </c:pt>
                <c:pt idx="6">
                  <c:v>6.5719032674909998</c:v>
                </c:pt>
                <c:pt idx="7">
                  <c:v>9.2618778280540006</c:v>
                </c:pt>
                <c:pt idx="8">
                  <c:v>14.942767950052</c:v>
                </c:pt>
                <c:pt idx="9">
                  <c:v>20.840529648819</c:v>
                </c:pt>
                <c:pt idx="10">
                  <c:v>27.076420995376001</c:v>
                </c:pt>
                <c:pt idx="11">
                  <c:v>28.127166027447</c:v>
                </c:pt>
                <c:pt idx="12">
                  <c:v>31.658863722635999</c:v>
                </c:pt>
                <c:pt idx="13">
                  <c:v>33.461276320981</c:v>
                </c:pt>
                <c:pt idx="14">
                  <c:v>31.279712441541001</c:v>
                </c:pt>
                <c:pt idx="15">
                  <c:v>28.111266947171</c:v>
                </c:pt>
                <c:pt idx="16">
                  <c:v>22.625127681306999</c:v>
                </c:pt>
              </c:numCache>
            </c:numRef>
          </c:val>
          <c:smooth val="0"/>
          <c:extLst>
            <c:ext xmlns:c16="http://schemas.microsoft.com/office/drawing/2014/chart" uri="{C3380CC4-5D6E-409C-BE32-E72D297353CC}">
              <c16:uniqueId val="{00000001-23BA-40DA-B60C-C8A480E48534}"/>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F$1</c:f>
              <c:strCache>
                <c:ptCount val="1"/>
                <c:pt idx="0">
                  <c:v>60+ let</c:v>
                </c:pt>
              </c:strCache>
            </c:strRef>
          </c:tx>
          <c:spPr>
            <a:ln w="28575" cap="rnd">
              <a:solidFill>
                <a:schemeClr val="accent1"/>
              </a:solidFill>
              <a:round/>
            </a:ln>
            <a:effectLst/>
          </c:spPr>
          <c:marker>
            <c:symbol val="none"/>
          </c:marker>
          <c:dLbls>
            <c:dLbl>
              <c:idx val="16"/>
              <c:layout>
                <c:manualLayout>
                  <c:x val="-1.4618162915429212E-16"/>
                  <c:y val="5.51998313579955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F29-438D-8691-E33F037B41E3}"/>
                </c:ext>
              </c:extLst>
            </c:dLbl>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F$2:$F$18</c:f>
              <c:numCache>
                <c:formatCode>General</c:formatCode>
                <c:ptCount val="17"/>
                <c:pt idx="0">
                  <c:v>0.89970009996599998</c:v>
                </c:pt>
                <c:pt idx="1">
                  <c:v>1.878415300546</c:v>
                </c:pt>
                <c:pt idx="2">
                  <c:v>1.498595067124</c:v>
                </c:pt>
                <c:pt idx="3">
                  <c:v>2.1761305678339999</c:v>
                </c:pt>
                <c:pt idx="4">
                  <c:v>2.1186440677960001</c:v>
                </c:pt>
                <c:pt idx="5">
                  <c:v>3.757995735607</c:v>
                </c:pt>
                <c:pt idx="6">
                  <c:v>4.0383644623919999</c:v>
                </c:pt>
                <c:pt idx="7">
                  <c:v>6.6694283347140004</c:v>
                </c:pt>
                <c:pt idx="8">
                  <c:v>8.2490033731980006</c:v>
                </c:pt>
                <c:pt idx="9">
                  <c:v>11.222553537544</c:v>
                </c:pt>
                <c:pt idx="10">
                  <c:v>17.424605074197999</c:v>
                </c:pt>
                <c:pt idx="11">
                  <c:v>17.387828520035001</c:v>
                </c:pt>
                <c:pt idx="12">
                  <c:v>18.915214411590998</c:v>
                </c:pt>
                <c:pt idx="13">
                  <c:v>20.627840430902999</c:v>
                </c:pt>
                <c:pt idx="14">
                  <c:v>19.401596775443</c:v>
                </c:pt>
                <c:pt idx="15">
                  <c:v>18.802664312655001</c:v>
                </c:pt>
                <c:pt idx="16">
                  <c:v>16.780128794848</c:v>
                </c:pt>
              </c:numCache>
            </c:numRef>
          </c:val>
          <c:smooth val="0"/>
          <c:extLst>
            <c:ext xmlns:c16="http://schemas.microsoft.com/office/drawing/2014/chart" uri="{C3380CC4-5D6E-409C-BE32-E72D297353CC}">
              <c16:uniqueId val="{00000001-BF29-438D-8691-E33F037B41E3}"/>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677742275086344E-2"/>
          <c:y val="4.1915233087189398E-2"/>
          <c:w val="0.81706720452149362"/>
          <c:h val="0.65010884527845236"/>
        </c:manualLayout>
      </c:layout>
      <c:lineChart>
        <c:grouping val="standard"/>
        <c:varyColors val="0"/>
        <c:ser>
          <c:idx val="0"/>
          <c:order val="0"/>
          <c:tx>
            <c:strRef>
              <c:f>List1!$D$1</c:f>
              <c:strCache>
                <c:ptCount val="1"/>
                <c:pt idx="0">
                  <c:v>30-59 let</c:v>
                </c:pt>
              </c:strCache>
            </c:strRef>
          </c:tx>
          <c:spPr>
            <a:ln w="28575" cap="rnd">
              <a:solidFill>
                <a:schemeClr val="accent1"/>
              </a:solidFill>
              <a:round/>
            </a:ln>
            <a:effectLst/>
          </c:spPr>
          <c:marker>
            <c:symbol val="none"/>
          </c:marker>
          <c:dLbls>
            <c:dLbl>
              <c:idx val="16"/>
              <c:layout>
                <c:manualLayout>
                  <c:x val="-1.5637601659802131E-2"/>
                  <c:y val="7.04554045027845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9F-494E-A84F-10919043448D}"/>
                </c:ext>
              </c:extLst>
            </c:dLbl>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D$2:$D$18</c:f>
              <c:numCache>
                <c:formatCode>General</c:formatCode>
                <c:ptCount val="17"/>
                <c:pt idx="0">
                  <c:v>1.771678103555</c:v>
                </c:pt>
                <c:pt idx="1">
                  <c:v>2.607052896725</c:v>
                </c:pt>
                <c:pt idx="2">
                  <c:v>2.9987218562570002</c:v>
                </c:pt>
                <c:pt idx="3">
                  <c:v>2.9928857633489998</c:v>
                </c:pt>
                <c:pt idx="4">
                  <c:v>3.4044218352570002</c:v>
                </c:pt>
                <c:pt idx="5">
                  <c:v>5.2611856404099999</c:v>
                </c:pt>
                <c:pt idx="6">
                  <c:v>6.182344869644</c:v>
                </c:pt>
                <c:pt idx="7">
                  <c:v>9.9446827024670004</c:v>
                </c:pt>
                <c:pt idx="8">
                  <c:v>15.438969195954</c:v>
                </c:pt>
                <c:pt idx="9">
                  <c:v>23.921685180369</c:v>
                </c:pt>
                <c:pt idx="10">
                  <c:v>29.677864703175</c:v>
                </c:pt>
                <c:pt idx="11">
                  <c:v>31.475416115994999</c:v>
                </c:pt>
                <c:pt idx="12">
                  <c:v>36.305345017508998</c:v>
                </c:pt>
                <c:pt idx="13">
                  <c:v>39.108047504360002</c:v>
                </c:pt>
                <c:pt idx="14">
                  <c:v>37.087372387362002</c:v>
                </c:pt>
                <c:pt idx="15">
                  <c:v>33.627635149238003</c:v>
                </c:pt>
                <c:pt idx="16">
                  <c:v>28.747255130532999</c:v>
                </c:pt>
              </c:numCache>
            </c:numRef>
          </c:val>
          <c:smooth val="0"/>
          <c:extLst>
            <c:ext xmlns:c16="http://schemas.microsoft.com/office/drawing/2014/chart" uri="{C3380CC4-5D6E-409C-BE32-E72D297353CC}">
              <c16:uniqueId val="{00000001-A39F-494E-A84F-10919043448D}"/>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4"/>
          <c:tx>
            <c:strRef>
              <c:f>Sheet1!$G$1</c:f>
              <c:strCache>
                <c:ptCount val="1"/>
                <c:pt idx="0">
                  <c:v>Reálná data</c:v>
                </c:pt>
              </c:strCache>
            </c:strRef>
          </c:tx>
          <c:spPr>
            <a:solidFill>
              <a:schemeClr val="bg1">
                <a:lumMod val="85000"/>
              </a:schemeClr>
            </a:solidFill>
            <a:ln>
              <a:noFill/>
            </a:ln>
            <a:effectLst/>
          </c:spPr>
          <c:invertIfNegative val="0"/>
          <c:cat>
            <c:numRef>
              <c:f>Sheet1!$A$2:$A$250</c:f>
              <c:numCache>
                <c:formatCode>m/d/yyyy</c:formatCode>
                <c:ptCount val="249"/>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pt idx="157">
                  <c:v>44474</c:v>
                </c:pt>
                <c:pt idx="158">
                  <c:v>44475</c:v>
                </c:pt>
                <c:pt idx="159">
                  <c:v>44476</c:v>
                </c:pt>
                <c:pt idx="160">
                  <c:v>44477</c:v>
                </c:pt>
                <c:pt idx="161">
                  <c:v>44478</c:v>
                </c:pt>
                <c:pt idx="162">
                  <c:v>44479</c:v>
                </c:pt>
                <c:pt idx="163">
                  <c:v>44480</c:v>
                </c:pt>
                <c:pt idx="164">
                  <c:v>44481</c:v>
                </c:pt>
                <c:pt idx="165">
                  <c:v>44482</c:v>
                </c:pt>
                <c:pt idx="166">
                  <c:v>44483</c:v>
                </c:pt>
                <c:pt idx="167">
                  <c:v>44484</c:v>
                </c:pt>
                <c:pt idx="168">
                  <c:v>44485</c:v>
                </c:pt>
                <c:pt idx="169">
                  <c:v>44486</c:v>
                </c:pt>
                <c:pt idx="170">
                  <c:v>44487</c:v>
                </c:pt>
                <c:pt idx="171">
                  <c:v>44488</c:v>
                </c:pt>
                <c:pt idx="172">
                  <c:v>44489</c:v>
                </c:pt>
                <c:pt idx="173">
                  <c:v>44490</c:v>
                </c:pt>
                <c:pt idx="174">
                  <c:v>44491</c:v>
                </c:pt>
                <c:pt idx="175">
                  <c:v>44492</c:v>
                </c:pt>
                <c:pt idx="176">
                  <c:v>44493</c:v>
                </c:pt>
                <c:pt idx="177">
                  <c:v>44494</c:v>
                </c:pt>
                <c:pt idx="178">
                  <c:v>44495</c:v>
                </c:pt>
                <c:pt idx="179">
                  <c:v>44496</c:v>
                </c:pt>
                <c:pt idx="180">
                  <c:v>44497</c:v>
                </c:pt>
                <c:pt idx="181">
                  <c:v>44498</c:v>
                </c:pt>
                <c:pt idx="182">
                  <c:v>44499</c:v>
                </c:pt>
                <c:pt idx="183">
                  <c:v>44500</c:v>
                </c:pt>
                <c:pt idx="184">
                  <c:v>44501</c:v>
                </c:pt>
                <c:pt idx="185">
                  <c:v>44502</c:v>
                </c:pt>
                <c:pt idx="186">
                  <c:v>44503</c:v>
                </c:pt>
                <c:pt idx="187">
                  <c:v>44504</c:v>
                </c:pt>
                <c:pt idx="188">
                  <c:v>44505</c:v>
                </c:pt>
                <c:pt idx="189">
                  <c:v>44506</c:v>
                </c:pt>
                <c:pt idx="190">
                  <c:v>44507</c:v>
                </c:pt>
                <c:pt idx="191">
                  <c:v>44508</c:v>
                </c:pt>
                <c:pt idx="192">
                  <c:v>44509</c:v>
                </c:pt>
                <c:pt idx="193">
                  <c:v>44510</c:v>
                </c:pt>
                <c:pt idx="194">
                  <c:v>44511</c:v>
                </c:pt>
                <c:pt idx="195">
                  <c:v>44512</c:v>
                </c:pt>
                <c:pt idx="196">
                  <c:v>44513</c:v>
                </c:pt>
                <c:pt idx="197">
                  <c:v>44514</c:v>
                </c:pt>
                <c:pt idx="198">
                  <c:v>44515</c:v>
                </c:pt>
                <c:pt idx="199">
                  <c:v>44516</c:v>
                </c:pt>
                <c:pt idx="200">
                  <c:v>44517</c:v>
                </c:pt>
                <c:pt idx="201">
                  <c:v>44518</c:v>
                </c:pt>
                <c:pt idx="202">
                  <c:v>44519</c:v>
                </c:pt>
                <c:pt idx="203">
                  <c:v>44520</c:v>
                </c:pt>
                <c:pt idx="204">
                  <c:v>44521</c:v>
                </c:pt>
                <c:pt idx="205">
                  <c:v>44522</c:v>
                </c:pt>
                <c:pt idx="206">
                  <c:v>44523</c:v>
                </c:pt>
                <c:pt idx="207">
                  <c:v>44524</c:v>
                </c:pt>
                <c:pt idx="208">
                  <c:v>44525</c:v>
                </c:pt>
                <c:pt idx="209">
                  <c:v>44526</c:v>
                </c:pt>
                <c:pt idx="210">
                  <c:v>44527</c:v>
                </c:pt>
                <c:pt idx="211">
                  <c:v>44528</c:v>
                </c:pt>
                <c:pt idx="212">
                  <c:v>44529</c:v>
                </c:pt>
                <c:pt idx="213">
                  <c:v>44530</c:v>
                </c:pt>
                <c:pt idx="214">
                  <c:v>44531</c:v>
                </c:pt>
                <c:pt idx="215">
                  <c:v>44532</c:v>
                </c:pt>
                <c:pt idx="216">
                  <c:v>44533</c:v>
                </c:pt>
                <c:pt idx="217">
                  <c:v>44534</c:v>
                </c:pt>
                <c:pt idx="218">
                  <c:v>44535</c:v>
                </c:pt>
                <c:pt idx="219">
                  <c:v>44536</c:v>
                </c:pt>
                <c:pt idx="220">
                  <c:v>44537</c:v>
                </c:pt>
                <c:pt idx="221">
                  <c:v>44538</c:v>
                </c:pt>
                <c:pt idx="222">
                  <c:v>44539</c:v>
                </c:pt>
                <c:pt idx="223">
                  <c:v>44540</c:v>
                </c:pt>
                <c:pt idx="224">
                  <c:v>44541</c:v>
                </c:pt>
                <c:pt idx="225">
                  <c:v>44542</c:v>
                </c:pt>
                <c:pt idx="226">
                  <c:v>44543</c:v>
                </c:pt>
                <c:pt idx="227">
                  <c:v>44544</c:v>
                </c:pt>
                <c:pt idx="228">
                  <c:v>44545</c:v>
                </c:pt>
                <c:pt idx="229">
                  <c:v>44546</c:v>
                </c:pt>
                <c:pt idx="230">
                  <c:v>44547</c:v>
                </c:pt>
                <c:pt idx="231">
                  <c:v>44548</c:v>
                </c:pt>
                <c:pt idx="232">
                  <c:v>44549</c:v>
                </c:pt>
                <c:pt idx="233">
                  <c:v>44550</c:v>
                </c:pt>
                <c:pt idx="234">
                  <c:v>44551</c:v>
                </c:pt>
                <c:pt idx="235">
                  <c:v>44552</c:v>
                </c:pt>
                <c:pt idx="236">
                  <c:v>44553</c:v>
                </c:pt>
                <c:pt idx="237">
                  <c:v>44554</c:v>
                </c:pt>
                <c:pt idx="238">
                  <c:v>44555</c:v>
                </c:pt>
                <c:pt idx="239">
                  <c:v>44556</c:v>
                </c:pt>
                <c:pt idx="240">
                  <c:v>44557</c:v>
                </c:pt>
                <c:pt idx="241">
                  <c:v>44558</c:v>
                </c:pt>
                <c:pt idx="242">
                  <c:v>44559</c:v>
                </c:pt>
                <c:pt idx="243">
                  <c:v>44560</c:v>
                </c:pt>
                <c:pt idx="244">
                  <c:v>44561</c:v>
                </c:pt>
                <c:pt idx="245">
                  <c:v>44562</c:v>
                </c:pt>
                <c:pt idx="246">
                  <c:v>44563</c:v>
                </c:pt>
                <c:pt idx="247">
                  <c:v>44564</c:v>
                </c:pt>
                <c:pt idx="248">
                  <c:v>44565</c:v>
                </c:pt>
              </c:numCache>
            </c:numRef>
          </c:cat>
          <c:val>
            <c:numRef>
              <c:f>Sheet1!$G$2:$G$250</c:f>
              <c:numCache>
                <c:formatCode>General</c:formatCode>
                <c:ptCount val="249"/>
                <c:pt idx="0">
                  <c:v>33</c:v>
                </c:pt>
                <c:pt idx="1">
                  <c:v>34</c:v>
                </c:pt>
                <c:pt idx="2">
                  <c:v>39</c:v>
                </c:pt>
                <c:pt idx="3">
                  <c:v>44</c:v>
                </c:pt>
                <c:pt idx="4">
                  <c:v>37</c:v>
                </c:pt>
                <c:pt idx="5">
                  <c:v>43</c:v>
                </c:pt>
                <c:pt idx="6">
                  <c:v>28</c:v>
                </c:pt>
                <c:pt idx="7">
                  <c:v>31</c:v>
                </c:pt>
                <c:pt idx="8">
                  <c:v>34</c:v>
                </c:pt>
                <c:pt idx="9">
                  <c:v>33</c:v>
                </c:pt>
                <c:pt idx="10">
                  <c:v>33</c:v>
                </c:pt>
                <c:pt idx="11">
                  <c:v>33</c:v>
                </c:pt>
                <c:pt idx="12">
                  <c:v>21</c:v>
                </c:pt>
                <c:pt idx="13">
                  <c:v>18</c:v>
                </c:pt>
                <c:pt idx="14">
                  <c:v>16</c:v>
                </c:pt>
                <c:pt idx="15">
                  <c:v>13</c:v>
                </c:pt>
                <c:pt idx="16">
                  <c:v>23</c:v>
                </c:pt>
                <c:pt idx="17">
                  <c:v>14</c:v>
                </c:pt>
                <c:pt idx="18">
                  <c:v>16</c:v>
                </c:pt>
                <c:pt idx="19">
                  <c:v>17</c:v>
                </c:pt>
                <c:pt idx="20">
                  <c:v>13</c:v>
                </c:pt>
                <c:pt idx="21">
                  <c:v>11</c:v>
                </c:pt>
                <c:pt idx="22">
                  <c:v>12</c:v>
                </c:pt>
                <c:pt idx="23">
                  <c:v>7</c:v>
                </c:pt>
                <c:pt idx="24">
                  <c:v>8</c:v>
                </c:pt>
                <c:pt idx="25">
                  <c:v>10</c:v>
                </c:pt>
                <c:pt idx="26">
                  <c:v>15</c:v>
                </c:pt>
                <c:pt idx="27">
                  <c:v>7</c:v>
                </c:pt>
                <c:pt idx="28">
                  <c:v>6</c:v>
                </c:pt>
                <c:pt idx="29">
                  <c:v>4</c:v>
                </c:pt>
                <c:pt idx="30">
                  <c:v>10</c:v>
                </c:pt>
                <c:pt idx="31">
                  <c:v>6</c:v>
                </c:pt>
                <c:pt idx="32">
                  <c:v>5</c:v>
                </c:pt>
                <c:pt idx="33">
                  <c:v>3</c:v>
                </c:pt>
                <c:pt idx="34">
                  <c:v>7</c:v>
                </c:pt>
                <c:pt idx="35">
                  <c:v>2</c:v>
                </c:pt>
                <c:pt idx="36">
                  <c:v>4</c:v>
                </c:pt>
                <c:pt idx="37">
                  <c:v>4</c:v>
                </c:pt>
                <c:pt idx="38">
                  <c:v>6</c:v>
                </c:pt>
                <c:pt idx="39">
                  <c:v>2</c:v>
                </c:pt>
                <c:pt idx="40">
                  <c:v>6</c:v>
                </c:pt>
                <c:pt idx="41">
                  <c:v>2</c:v>
                </c:pt>
                <c:pt idx="42">
                  <c:v>4</c:v>
                </c:pt>
                <c:pt idx="43">
                  <c:v>3</c:v>
                </c:pt>
                <c:pt idx="45">
                  <c:v>4</c:v>
                </c:pt>
                <c:pt idx="46">
                  <c:v>1</c:v>
                </c:pt>
                <c:pt idx="47">
                  <c:v>4</c:v>
                </c:pt>
                <c:pt idx="48">
                  <c:v>3</c:v>
                </c:pt>
                <c:pt idx="50">
                  <c:v>1</c:v>
                </c:pt>
                <c:pt idx="51">
                  <c:v>1</c:v>
                </c:pt>
                <c:pt idx="52">
                  <c:v>3</c:v>
                </c:pt>
                <c:pt idx="54">
                  <c:v>4</c:v>
                </c:pt>
                <c:pt idx="55">
                  <c:v>1</c:v>
                </c:pt>
                <c:pt idx="56">
                  <c:v>2</c:v>
                </c:pt>
                <c:pt idx="60">
                  <c:v>2</c:v>
                </c:pt>
                <c:pt idx="61">
                  <c:v>1</c:v>
                </c:pt>
                <c:pt idx="62">
                  <c:v>2</c:v>
                </c:pt>
                <c:pt idx="64">
                  <c:v>2</c:v>
                </c:pt>
                <c:pt idx="67">
                  <c:v>1</c:v>
                </c:pt>
                <c:pt idx="71">
                  <c:v>2</c:v>
                </c:pt>
                <c:pt idx="76">
                  <c:v>2</c:v>
                </c:pt>
                <c:pt idx="78">
                  <c:v>1</c:v>
                </c:pt>
                <c:pt idx="79">
                  <c:v>2</c:v>
                </c:pt>
                <c:pt idx="81">
                  <c:v>1</c:v>
                </c:pt>
                <c:pt idx="91">
                  <c:v>2</c:v>
                </c:pt>
                <c:pt idx="92">
                  <c:v>2</c:v>
                </c:pt>
                <c:pt idx="93">
                  <c:v>1</c:v>
                </c:pt>
                <c:pt idx="96">
                  <c:v>1</c:v>
                </c:pt>
                <c:pt idx="97">
                  <c:v>2</c:v>
                </c:pt>
                <c:pt idx="100">
                  <c:v>1</c:v>
                </c:pt>
                <c:pt idx="102">
                  <c:v>1</c:v>
                </c:pt>
                <c:pt idx="106">
                  <c:v>3</c:v>
                </c:pt>
                <c:pt idx="107">
                  <c:v>3</c:v>
                </c:pt>
                <c:pt idx="108">
                  <c:v>1</c:v>
                </c:pt>
                <c:pt idx="109">
                  <c:v>2</c:v>
                </c:pt>
                <c:pt idx="110">
                  <c:v>2</c:v>
                </c:pt>
                <c:pt idx="111">
                  <c:v>1</c:v>
                </c:pt>
                <c:pt idx="114">
                  <c:v>1</c:v>
                </c:pt>
                <c:pt idx="115">
                  <c:v>1</c:v>
                </c:pt>
                <c:pt idx="116">
                  <c:v>2</c:v>
                </c:pt>
                <c:pt idx="118">
                  <c:v>1</c:v>
                </c:pt>
                <c:pt idx="119">
                  <c:v>2</c:v>
                </c:pt>
                <c:pt idx="120">
                  <c:v>1</c:v>
                </c:pt>
                <c:pt idx="124">
                  <c:v>2</c:v>
                </c:pt>
                <c:pt idx="128">
                  <c:v>1</c:v>
                </c:pt>
                <c:pt idx="129">
                  <c:v>2</c:v>
                </c:pt>
                <c:pt idx="130">
                  <c:v>1</c:v>
                </c:pt>
                <c:pt idx="134">
                  <c:v>2</c:v>
                </c:pt>
                <c:pt idx="136">
                  <c:v>3</c:v>
                </c:pt>
                <c:pt idx="137">
                  <c:v>3</c:v>
                </c:pt>
                <c:pt idx="139">
                  <c:v>2</c:v>
                </c:pt>
                <c:pt idx="140">
                  <c:v>5</c:v>
                </c:pt>
                <c:pt idx="141">
                  <c:v>2</c:v>
                </c:pt>
                <c:pt idx="142">
                  <c:v>4</c:v>
                </c:pt>
                <c:pt idx="143">
                  <c:v>2</c:v>
                </c:pt>
                <c:pt idx="144">
                  <c:v>2</c:v>
                </c:pt>
                <c:pt idx="145">
                  <c:v>3</c:v>
                </c:pt>
                <c:pt idx="147">
                  <c:v>2</c:v>
                </c:pt>
                <c:pt idx="150">
                  <c:v>3</c:v>
                </c:pt>
                <c:pt idx="151">
                  <c:v>5</c:v>
                </c:pt>
                <c:pt idx="152">
                  <c:v>1</c:v>
                </c:pt>
                <c:pt idx="153">
                  <c:v>1</c:v>
                </c:pt>
                <c:pt idx="154">
                  <c:v>1</c:v>
                </c:pt>
                <c:pt idx="155">
                  <c:v>4</c:v>
                </c:pt>
                <c:pt idx="156">
                  <c:v>4</c:v>
                </c:pt>
                <c:pt idx="157">
                  <c:v>3</c:v>
                </c:pt>
                <c:pt idx="158">
                  <c:v>5</c:v>
                </c:pt>
                <c:pt idx="159">
                  <c:v>3</c:v>
                </c:pt>
                <c:pt idx="160">
                  <c:v>4</c:v>
                </c:pt>
                <c:pt idx="161">
                  <c:v>3</c:v>
                </c:pt>
                <c:pt idx="162">
                  <c:v>4</c:v>
                </c:pt>
                <c:pt idx="163">
                  <c:v>5</c:v>
                </c:pt>
                <c:pt idx="164">
                  <c:v>7</c:v>
                </c:pt>
                <c:pt idx="165">
                  <c:v>6</c:v>
                </c:pt>
                <c:pt idx="166">
                  <c:v>6</c:v>
                </c:pt>
                <c:pt idx="167">
                  <c:v>10</c:v>
                </c:pt>
                <c:pt idx="168">
                  <c:v>8</c:v>
                </c:pt>
                <c:pt idx="169">
                  <c:v>11</c:v>
                </c:pt>
                <c:pt idx="170">
                  <c:v>12</c:v>
                </c:pt>
                <c:pt idx="171">
                  <c:v>10</c:v>
                </c:pt>
                <c:pt idx="172">
                  <c:v>7</c:v>
                </c:pt>
                <c:pt idx="173">
                  <c:v>10</c:v>
                </c:pt>
                <c:pt idx="174">
                  <c:v>14</c:v>
                </c:pt>
                <c:pt idx="175">
                  <c:v>13</c:v>
                </c:pt>
                <c:pt idx="176">
                  <c:v>21</c:v>
                </c:pt>
                <c:pt idx="177">
                  <c:v>20</c:v>
                </c:pt>
                <c:pt idx="178">
                  <c:v>16</c:v>
                </c:pt>
                <c:pt idx="179">
                  <c:v>21</c:v>
                </c:pt>
                <c:pt idx="180">
                  <c:v>26</c:v>
                </c:pt>
                <c:pt idx="181">
                  <c:v>26</c:v>
                </c:pt>
                <c:pt idx="182">
                  <c:v>23</c:v>
                </c:pt>
                <c:pt idx="183">
                  <c:v>32</c:v>
                </c:pt>
                <c:pt idx="184">
                  <c:v>31</c:v>
                </c:pt>
                <c:pt idx="185">
                  <c:v>36</c:v>
                </c:pt>
                <c:pt idx="186">
                  <c:v>45</c:v>
                </c:pt>
                <c:pt idx="187">
                  <c:v>45</c:v>
                </c:pt>
                <c:pt idx="188">
                  <c:v>57</c:v>
                </c:pt>
                <c:pt idx="189">
                  <c:v>52</c:v>
                </c:pt>
                <c:pt idx="190">
                  <c:v>39</c:v>
                </c:pt>
                <c:pt idx="191">
                  <c:v>48</c:v>
                </c:pt>
                <c:pt idx="192">
                  <c:v>63</c:v>
                </c:pt>
                <c:pt idx="193">
                  <c:v>75</c:v>
                </c:pt>
                <c:pt idx="194">
                  <c:v>71</c:v>
                </c:pt>
                <c:pt idx="195">
                  <c:v>68</c:v>
                </c:pt>
                <c:pt idx="196">
                  <c:v>74</c:v>
                </c:pt>
                <c:pt idx="197">
                  <c:v>62</c:v>
                </c:pt>
                <c:pt idx="198">
                  <c:v>93</c:v>
                </c:pt>
                <c:pt idx="199">
                  <c:v>69</c:v>
                </c:pt>
                <c:pt idx="200">
                  <c:v>82</c:v>
                </c:pt>
                <c:pt idx="201">
                  <c:v>120</c:v>
                </c:pt>
                <c:pt idx="202">
                  <c:v>113</c:v>
                </c:pt>
                <c:pt idx="203">
                  <c:v>96</c:v>
                </c:pt>
                <c:pt idx="204">
                  <c:v>112</c:v>
                </c:pt>
                <c:pt idx="205">
                  <c:v>111</c:v>
                </c:pt>
                <c:pt idx="206">
                  <c:v>116</c:v>
                </c:pt>
                <c:pt idx="207">
                  <c:v>93</c:v>
                </c:pt>
                <c:pt idx="208">
                  <c:v>114</c:v>
                </c:pt>
                <c:pt idx="209">
                  <c:v>117</c:v>
                </c:pt>
                <c:pt idx="210">
                  <c:v>95</c:v>
                </c:pt>
                <c:pt idx="211">
                  <c:v>120</c:v>
                </c:pt>
                <c:pt idx="212">
                  <c:v>108</c:v>
                </c:pt>
                <c:pt idx="213">
                  <c:v>120</c:v>
                </c:pt>
                <c:pt idx="214">
                  <c:v>139</c:v>
                </c:pt>
                <c:pt idx="215">
                  <c:v>124</c:v>
                </c:pt>
                <c:pt idx="216">
                  <c:v>119</c:v>
                </c:pt>
                <c:pt idx="217">
                  <c:v>109</c:v>
                </c:pt>
                <c:pt idx="218">
                  <c:v>110</c:v>
                </c:pt>
                <c:pt idx="219">
                  <c:v>123</c:v>
                </c:pt>
                <c:pt idx="220">
                  <c:v>108</c:v>
                </c:pt>
                <c:pt idx="221">
                  <c:v>112</c:v>
                </c:pt>
                <c:pt idx="222">
                  <c:v>112</c:v>
                </c:pt>
                <c:pt idx="223">
                  <c:v>119</c:v>
                </c:pt>
                <c:pt idx="224">
                  <c:v>100</c:v>
                </c:pt>
                <c:pt idx="225">
                  <c:v>122</c:v>
                </c:pt>
                <c:pt idx="226">
                  <c:v>112</c:v>
                </c:pt>
                <c:pt idx="227">
                  <c:v>109</c:v>
                </c:pt>
                <c:pt idx="228">
                  <c:v>123</c:v>
                </c:pt>
                <c:pt idx="229">
                  <c:v>96</c:v>
                </c:pt>
                <c:pt idx="230">
                  <c:v>82</c:v>
                </c:pt>
                <c:pt idx="231">
                  <c:v>98</c:v>
                </c:pt>
                <c:pt idx="232">
                  <c:v>68</c:v>
                </c:pt>
                <c:pt idx="233">
                  <c:v>75</c:v>
                </c:pt>
                <c:pt idx="234">
                  <c:v>76</c:v>
                </c:pt>
                <c:pt idx="235">
                  <c:v>40</c:v>
                </c:pt>
              </c:numCache>
            </c:numRef>
          </c:val>
          <c:extLst>
            <c:ext xmlns:c16="http://schemas.microsoft.com/office/drawing/2014/chart" uri="{C3380CC4-5D6E-409C-BE32-E72D297353CC}">
              <c16:uniqueId val="{00000000-76E4-4310-8D88-35AA51852975}"/>
            </c:ext>
          </c:extLst>
        </c:ser>
        <c:dLbls>
          <c:showLegendKey val="0"/>
          <c:showVal val="0"/>
          <c:showCatName val="0"/>
          <c:showSerName val="0"/>
          <c:showPercent val="0"/>
          <c:showBubbleSize val="0"/>
        </c:dLbls>
        <c:gapWidth val="50"/>
        <c:axId val="207093791"/>
        <c:axId val="209778303"/>
      </c:barChart>
      <c:lineChart>
        <c:grouping val="standard"/>
        <c:varyColors val="0"/>
        <c:ser>
          <c:idx val="0"/>
          <c:order val="0"/>
          <c:tx>
            <c:strRef>
              <c:f>Sheet1!$E$1</c:f>
              <c:strCache>
                <c:ptCount val="1"/>
                <c:pt idx="0">
                  <c:v>B</c:v>
                </c:pt>
              </c:strCache>
            </c:strRef>
          </c:tx>
          <c:spPr>
            <a:ln w="28575" cap="rnd">
              <a:solidFill>
                <a:srgbClr val="C00000"/>
              </a:solidFill>
              <a:prstDash val="sysDot"/>
              <a:round/>
            </a:ln>
            <a:effectLst/>
          </c:spPr>
          <c:marker>
            <c:symbol val="none"/>
          </c:marker>
          <c:val>
            <c:numRef>
              <c:f>Sheet1!$E$2:$E$250</c:f>
              <c:numCache>
                <c:formatCode>General</c:formatCode>
                <c:ptCount val="249"/>
                <c:pt idx="0">
                  <c:v>33.617366669481427</c:v>
                </c:pt>
                <c:pt idx="1">
                  <c:v>33.130942717957396</c:v>
                </c:pt>
                <c:pt idx="2">
                  <c:v>32.750160906925011</c:v>
                </c:pt>
                <c:pt idx="3">
                  <c:v>31.869162251916382</c:v>
                </c:pt>
                <c:pt idx="4">
                  <c:v>30.110528667913286</c:v>
                </c:pt>
                <c:pt idx="5">
                  <c:v>28.28632679587799</c:v>
                </c:pt>
                <c:pt idx="6">
                  <c:v>26.887635546361128</c:v>
                </c:pt>
                <c:pt idx="7">
                  <c:v>25.105872213281778</c:v>
                </c:pt>
                <c:pt idx="8">
                  <c:v>24.498467758346305</c:v>
                </c:pt>
                <c:pt idx="9">
                  <c:v>23.988008790130596</c:v>
                </c:pt>
                <c:pt idx="10">
                  <c:v>23.156535386473667</c:v>
                </c:pt>
                <c:pt idx="11">
                  <c:v>21.522344563561241</c:v>
                </c:pt>
                <c:pt idx="12">
                  <c:v>21.044322786337684</c:v>
                </c:pt>
                <c:pt idx="13">
                  <c:v>19.162760140648356</c:v>
                </c:pt>
                <c:pt idx="14">
                  <c:v>18.469851949213858</c:v>
                </c:pt>
                <c:pt idx="15">
                  <c:v>18.020065253849534</c:v>
                </c:pt>
                <c:pt idx="16">
                  <c:v>17.514218036843864</c:v>
                </c:pt>
                <c:pt idx="17">
                  <c:v>16.3233863455843</c:v>
                </c:pt>
                <c:pt idx="18">
                  <c:v>15.562820563013112</c:v>
                </c:pt>
                <c:pt idx="19">
                  <c:v>14.764116091094333</c:v>
                </c:pt>
                <c:pt idx="20">
                  <c:v>14.003440805165601</c:v>
                </c:pt>
                <c:pt idx="21">
                  <c:v>13.499889763916819</c:v>
                </c:pt>
                <c:pt idx="22">
                  <c:v>12.830963170815313</c:v>
                </c:pt>
                <c:pt idx="23">
                  <c:v>12.21462611212981</c:v>
                </c:pt>
                <c:pt idx="24">
                  <c:v>11.361974932125564</c:v>
                </c:pt>
                <c:pt idx="25">
                  <c:v>10.914612956962413</c:v>
                </c:pt>
                <c:pt idx="26">
                  <c:v>10.619105639208403</c:v>
                </c:pt>
                <c:pt idx="27">
                  <c:v>9.9954301844491411</c:v>
                </c:pt>
                <c:pt idx="28">
                  <c:v>9.4375618853217507</c:v>
                </c:pt>
                <c:pt idx="29">
                  <c:v>8.9847891503381945</c:v>
                </c:pt>
                <c:pt idx="30">
                  <c:v>8.3157722843920805</c:v>
                </c:pt>
                <c:pt idx="31">
                  <c:v>7.8632927234998657</c:v>
                </c:pt>
                <c:pt idx="32">
                  <c:v>7.4232146380040183</c:v>
                </c:pt>
                <c:pt idx="33">
                  <c:v>6.9972346324679604</c:v>
                </c:pt>
                <c:pt idx="34">
                  <c:v>6.5920968312114345</c:v>
                </c:pt>
                <c:pt idx="35">
                  <c:v>6.2000207796108437</c:v>
                </c:pt>
                <c:pt idx="36">
                  <c:v>5.8280821617711913</c:v>
                </c:pt>
                <c:pt idx="37">
                  <c:v>5.4790277825955487</c:v>
                </c:pt>
                <c:pt idx="38">
                  <c:v>5.1480111672345865</c:v>
                </c:pt>
                <c:pt idx="39">
                  <c:v>4.8338223532528168</c:v>
                </c:pt>
                <c:pt idx="40">
                  <c:v>4.5382430397320768</c:v>
                </c:pt>
                <c:pt idx="41">
                  <c:v>4.2625426888947855</c:v>
                </c:pt>
                <c:pt idx="42">
                  <c:v>4.0028272450322975</c:v>
                </c:pt>
                <c:pt idx="43">
                  <c:v>3.7586395372490422</c:v>
                </c:pt>
                <c:pt idx="44">
                  <c:v>3.5316637360880265</c:v>
                </c:pt>
                <c:pt idx="45">
                  <c:v>3.3212972029769636</c:v>
                </c:pt>
                <c:pt idx="46">
                  <c:v>3.124041680134432</c:v>
                </c:pt>
                <c:pt idx="47">
                  <c:v>2.9409153057144759</c:v>
                </c:pt>
                <c:pt idx="48">
                  <c:v>2.7702600163610196</c:v>
                </c:pt>
                <c:pt idx="49">
                  <c:v>2.6090454581436013</c:v>
                </c:pt>
                <c:pt idx="50">
                  <c:v>2.4579046921065677</c:v>
                </c:pt>
                <c:pt idx="51">
                  <c:v>2.3168807352636209</c:v>
                </c:pt>
                <c:pt idx="52">
                  <c:v>2.1858190849730508</c:v>
                </c:pt>
                <c:pt idx="53">
                  <c:v>2.0637794299067842</c:v>
                </c:pt>
                <c:pt idx="54">
                  <c:v>1.9493846160683539</c:v>
                </c:pt>
                <c:pt idx="55">
                  <c:v>1.8422101557157153</c:v>
                </c:pt>
                <c:pt idx="56">
                  <c:v>1.7417252510373884</c:v>
                </c:pt>
                <c:pt idx="57">
                  <c:v>1.6475719025221063</c:v>
                </c:pt>
                <c:pt idx="58">
                  <c:v>1.5602861675465847</c:v>
                </c:pt>
                <c:pt idx="59">
                  <c:v>1.4807659262417938</c:v>
                </c:pt>
                <c:pt idx="60">
                  <c:v>1.409176958976897</c:v>
                </c:pt>
                <c:pt idx="61">
                  <c:v>1.3446365699539624</c:v>
                </c:pt>
                <c:pt idx="62">
                  <c:v>1.2866873723874721</c:v>
                </c:pt>
                <c:pt idx="63">
                  <c:v>1.2357737670752635</c:v>
                </c:pt>
                <c:pt idx="64">
                  <c:v>1.1922075604713915</c:v>
                </c:pt>
                <c:pt idx="65">
                  <c:v>1.1561388675781004</c:v>
                </c:pt>
                <c:pt idx="66">
                  <c:v>1.1272450980178463</c:v>
                </c:pt>
                <c:pt idx="67">
                  <c:v>1.1049420105967438</c:v>
                </c:pt>
                <c:pt idx="68">
                  <c:v>1.0881291943866962</c:v>
                </c:pt>
                <c:pt idx="69">
                  <c:v>1.0762135832128257</c:v>
                </c:pt>
                <c:pt idx="70">
                  <c:v>1.0692730860062032</c:v>
                </c:pt>
                <c:pt idx="71">
                  <c:v>1.0670181539272892</c:v>
                </c:pt>
                <c:pt idx="72">
                  <c:v>1.0690089367132705</c:v>
                </c:pt>
                <c:pt idx="73">
                  <c:v>1.0746626603107328</c:v>
                </c:pt>
                <c:pt idx="74">
                  <c:v>1.0832705638029891</c:v>
                </c:pt>
                <c:pt idx="75">
                  <c:v>1.0939493893709653</c:v>
                </c:pt>
                <c:pt idx="76">
                  <c:v>1.1059945531278768</c:v>
                </c:pt>
                <c:pt idx="77">
                  <c:v>1.1188839188049053</c:v>
                </c:pt>
                <c:pt idx="78">
                  <c:v>1.132672738749511</c:v>
                </c:pt>
                <c:pt idx="79">
                  <c:v>1.1468732367478631</c:v>
                </c:pt>
                <c:pt idx="80">
                  <c:v>1.1607860651440953</c:v>
                </c:pt>
                <c:pt idx="81">
                  <c:v>1.1740977302080102</c:v>
                </c:pt>
                <c:pt idx="82">
                  <c:v>1.186546570757371</c:v>
                </c:pt>
                <c:pt idx="83">
                  <c:v>1.1980438256546682</c:v>
                </c:pt>
                <c:pt idx="84">
                  <c:v>1.208339474083052</c:v>
                </c:pt>
                <c:pt idx="85">
                  <c:v>1.2172243504908191</c:v>
                </c:pt>
                <c:pt idx="86">
                  <c:v>1.2244881154567258</c:v>
                </c:pt>
                <c:pt idx="87">
                  <c:v>1.2299414635981298</c:v>
                </c:pt>
                <c:pt idx="88">
                  <c:v>1.2334728581975913</c:v>
                </c:pt>
                <c:pt idx="89">
                  <c:v>1.2355511516495368</c:v>
                </c:pt>
                <c:pt idx="90">
                  <c:v>1.2362593662119101</c:v>
                </c:pt>
                <c:pt idx="91">
                  <c:v>1.2354874150777404</c:v>
                </c:pt>
                <c:pt idx="92">
                  <c:v>1.2332187531574581</c:v>
                </c:pt>
                <c:pt idx="93">
                  <c:v>1.2294949875032009</c:v>
                </c:pt>
                <c:pt idx="94">
                  <c:v>1.2243660773345482</c:v>
                </c:pt>
                <c:pt idx="95">
                  <c:v>1.2178753962041666</c:v>
                </c:pt>
                <c:pt idx="96">
                  <c:v>1.2100570732512466</c:v>
                </c:pt>
                <c:pt idx="97">
                  <c:v>1.2010053201222612</c:v>
                </c:pt>
                <c:pt idx="98">
                  <c:v>1.1908330163528968</c:v>
                </c:pt>
                <c:pt idx="99">
                  <c:v>1.1796582249111809</c:v>
                </c:pt>
                <c:pt idx="100">
                  <c:v>1.1683419800470345</c:v>
                </c:pt>
                <c:pt idx="101">
                  <c:v>1.1581314019527063</c:v>
                </c:pt>
                <c:pt idx="102">
                  <c:v>1.1490990272192334</c:v>
                </c:pt>
                <c:pt idx="103">
                  <c:v>1.1409345190705462</c:v>
                </c:pt>
                <c:pt idx="104">
                  <c:v>1.1339970769917394</c:v>
                </c:pt>
                <c:pt idx="105">
                  <c:v>1.1289107700844776</c:v>
                </c:pt>
                <c:pt idx="106">
                  <c:v>1.1260358376232853</c:v>
                </c:pt>
                <c:pt idx="107">
                  <c:v>1.1256918861089908</c:v>
                </c:pt>
                <c:pt idx="108">
                  <c:v>1.1278812382384211</c:v>
                </c:pt>
                <c:pt idx="109">
                  <c:v>1.1326176829306804</c:v>
                </c:pt>
                <c:pt idx="110">
                  <c:v>1.1393293538344158</c:v>
                </c:pt>
                <c:pt idx="111">
                  <c:v>1.1476594881342335</c:v>
                </c:pt>
                <c:pt idx="112">
                  <c:v>1.1577671350143253</c:v>
                </c:pt>
                <c:pt idx="113">
                  <c:v>1.1696267961607769</c:v>
                </c:pt>
                <c:pt idx="114">
                  <c:v>1.1833524217645484</c:v>
                </c:pt>
                <c:pt idx="115">
                  <c:v>1.1985784281118483</c:v>
                </c:pt>
                <c:pt idx="116">
                  <c:v>1.2148290557961587</c:v>
                </c:pt>
                <c:pt idx="117">
                  <c:v>1.2317597570377419</c:v>
                </c:pt>
                <c:pt idx="118">
                  <c:v>1.2490826795786583</c:v>
                </c:pt>
                <c:pt idx="119">
                  <c:v>1.2666253599980182</c:v>
                </c:pt>
                <c:pt idx="120">
                  <c:v>1.2846163359533105</c:v>
                </c:pt>
                <c:pt idx="121">
                  <c:v>1.3027918737476378</c:v>
                </c:pt>
                <c:pt idx="122">
                  <c:v>1.3209280716284526</c:v>
                </c:pt>
                <c:pt idx="123">
                  <c:v>1.3388791198410086</c:v>
                </c:pt>
                <c:pt idx="124">
                  <c:v>1.3565384335630006</c:v>
                </c:pt>
                <c:pt idx="125">
                  <c:v>1.3738364540824692</c:v>
                </c:pt>
                <c:pt idx="126">
                  <c:v>1.3907329580209231</c:v>
                </c:pt>
                <c:pt idx="127">
                  <c:v>1.4072860299469783</c:v>
                </c:pt>
                <c:pt idx="128">
                  <c:v>1.4234478870076273</c:v>
                </c:pt>
                <c:pt idx="129">
                  <c:v>1.4391585446875184</c:v>
                </c:pt>
                <c:pt idx="130">
                  <c:v>1.4543698087393293</c:v>
                </c:pt>
                <c:pt idx="131">
                  <c:v>1.4695003577264547</c:v>
                </c:pt>
                <c:pt idx="132">
                  <c:v>1.4848940955096526</c:v>
                </c:pt>
                <c:pt idx="133">
                  <c:v>1.5006426310529708</c:v>
                </c:pt>
                <c:pt idx="134">
                  <c:v>1.5168221241578292</c:v>
                </c:pt>
                <c:pt idx="135">
                  <c:v>1.5339861656554867</c:v>
                </c:pt>
                <c:pt idx="136">
                  <c:v>1.5525500408176196</c:v>
                </c:pt>
                <c:pt idx="137">
                  <c:v>1.5730102145387113</c:v>
                </c:pt>
                <c:pt idx="138">
                  <c:v>1.5960326077037459</c:v>
                </c:pt>
                <c:pt idx="139">
                  <c:v>1.6220491715441718</c:v>
                </c:pt>
                <c:pt idx="140">
                  <c:v>1.6515869419036828</c:v>
                </c:pt>
                <c:pt idx="141">
                  <c:v>1.6850577536958744</c:v>
                </c:pt>
                <c:pt idx="142">
                  <c:v>1.7229641561363098</c:v>
                </c:pt>
                <c:pt idx="143">
                  <c:v>1.7659025162015434</c:v>
                </c:pt>
                <c:pt idx="144">
                  <c:v>1.8143404153903988</c:v>
                </c:pt>
                <c:pt idx="145">
                  <c:v>1.8687732636628576</c:v>
                </c:pt>
                <c:pt idx="146">
                  <c:v>1.9295610072459646</c:v>
                </c:pt>
                <c:pt idx="147">
                  <c:v>1.9970473423473201</c:v>
                </c:pt>
                <c:pt idx="148">
                  <c:v>2.0718323199324935</c:v>
                </c:pt>
                <c:pt idx="149">
                  <c:v>2.1542979705679199</c:v>
                </c:pt>
                <c:pt idx="150">
                  <c:v>2.2447715905602994</c:v>
                </c:pt>
                <c:pt idx="151">
                  <c:v>2.3435033541015735</c:v>
                </c:pt>
                <c:pt idx="152">
                  <c:v>2.4506008701078508</c:v>
                </c:pt>
                <c:pt idx="153">
                  <c:v>2.5662538518892819</c:v>
                </c:pt>
                <c:pt idx="154">
                  <c:v>2.6907027350180388</c:v>
                </c:pt>
                <c:pt idx="155">
                  <c:v>2.8242050857233258</c:v>
                </c:pt>
                <c:pt idx="156">
                  <c:v>2.967036816276905</c:v>
                </c:pt>
                <c:pt idx="157">
                  <c:v>3.1194805916741197</c:v>
                </c:pt>
                <c:pt idx="158">
                  <c:v>3.281994167732214</c:v>
                </c:pt>
                <c:pt idx="159">
                  <c:v>3.4548560231088472</c:v>
                </c:pt>
                <c:pt idx="160">
                  <c:v>3.6383722705710406</c:v>
                </c:pt>
                <c:pt idx="161">
                  <c:v>3.8362116972660201</c:v>
                </c:pt>
                <c:pt idx="162">
                  <c:v>4.0760835909020283</c:v>
                </c:pt>
                <c:pt idx="163">
                  <c:v>4.384942322656328</c:v>
                </c:pt>
                <c:pt idx="164">
                  <c:v>4.7255057988983147</c:v>
                </c:pt>
                <c:pt idx="165">
                  <c:v>5.1029276706985449</c:v>
                </c:pt>
                <c:pt idx="166">
                  <c:v>5.5241106320997817</c:v>
                </c:pt>
                <c:pt idx="167">
                  <c:v>5.9954421102110231</c:v>
                </c:pt>
                <c:pt idx="168">
                  <c:v>6.5240747015647225</c:v>
                </c:pt>
                <c:pt idx="169">
                  <c:v>7.115982218158079</c:v>
                </c:pt>
                <c:pt idx="170">
                  <c:v>7.7781088135724623</c:v>
                </c:pt>
                <c:pt idx="171">
                  <c:v>8.5145185237183494</c:v>
                </c:pt>
                <c:pt idx="172">
                  <c:v>9.3308646712510797</c:v>
                </c:pt>
                <c:pt idx="173">
                  <c:v>10.700009277083206</c:v>
                </c:pt>
                <c:pt idx="174">
                  <c:v>11.497171363542522</c:v>
                </c:pt>
                <c:pt idx="175">
                  <c:v>13.232637347658986</c:v>
                </c:pt>
                <c:pt idx="176">
                  <c:v>14.809781005903092</c:v>
                </c:pt>
                <c:pt idx="177">
                  <c:v>16.221674150528987</c:v>
                </c:pt>
                <c:pt idx="178">
                  <c:v>17.648890538754973</c:v>
                </c:pt>
                <c:pt idx="179">
                  <c:v>19.40047654605387</c:v>
                </c:pt>
                <c:pt idx="180">
                  <c:v>20.691975084960951</c:v>
                </c:pt>
                <c:pt idx="181">
                  <c:v>22.016393565156623</c:v>
                </c:pt>
                <c:pt idx="182">
                  <c:v>24.453447558490289</c:v>
                </c:pt>
                <c:pt idx="183">
                  <c:v>27.076178382548409</c:v>
                </c:pt>
                <c:pt idx="184">
                  <c:v>29.828768079924021</c:v>
                </c:pt>
                <c:pt idx="185">
                  <c:v>32.449171059956299</c:v>
                </c:pt>
                <c:pt idx="186">
                  <c:v>34.98116808291585</c:v>
                </c:pt>
                <c:pt idx="187">
                  <c:v>37.973473724422213</c:v>
                </c:pt>
                <c:pt idx="188">
                  <c:v>40.771370247989111</c:v>
                </c:pt>
                <c:pt idx="189">
                  <c:v>43.951421847532686</c:v>
                </c:pt>
                <c:pt idx="190">
                  <c:v>47.90857224647506</c:v>
                </c:pt>
                <c:pt idx="191">
                  <c:v>51.220278513191943</c:v>
                </c:pt>
                <c:pt idx="192">
                  <c:v>54.300119492906802</c:v>
                </c:pt>
                <c:pt idx="193">
                  <c:v>57.665069913002554</c:v>
                </c:pt>
                <c:pt idx="194">
                  <c:v>61.230319443443875</c:v>
                </c:pt>
                <c:pt idx="195">
                  <c:v>64.648588247987291</c:v>
                </c:pt>
                <c:pt idx="196">
                  <c:v>65.619335260580527</c:v>
                </c:pt>
                <c:pt idx="197">
                  <c:v>68.440270702858413</c:v>
                </c:pt>
                <c:pt idx="198">
                  <c:v>71.958749279701095</c:v>
                </c:pt>
                <c:pt idx="199">
                  <c:v>73.318634561311868</c:v>
                </c:pt>
                <c:pt idx="200">
                  <c:v>76.422414753537979</c:v>
                </c:pt>
                <c:pt idx="201">
                  <c:v>78.342787471714303</c:v>
                </c:pt>
                <c:pt idx="202">
                  <c:v>79.754692011742932</c:v>
                </c:pt>
                <c:pt idx="203">
                  <c:v>81.690287753216651</c:v>
                </c:pt>
                <c:pt idx="204">
                  <c:v>84.162122462795026</c:v>
                </c:pt>
                <c:pt idx="205">
                  <c:v>87.094765613905864</c:v>
                </c:pt>
                <c:pt idx="206">
                  <c:v>89.327983399957574</c:v>
                </c:pt>
                <c:pt idx="207">
                  <c:v>93.080094079409676</c:v>
                </c:pt>
                <c:pt idx="208">
                  <c:v>95.862501016447894</c:v>
                </c:pt>
                <c:pt idx="209">
                  <c:v>97.471202458340429</c:v>
                </c:pt>
                <c:pt idx="210">
                  <c:v>100.99060810356492</c:v>
                </c:pt>
                <c:pt idx="211">
                  <c:v>104.24080066301619</c:v>
                </c:pt>
                <c:pt idx="212">
                  <c:v>107.38059540182375</c:v>
                </c:pt>
                <c:pt idx="213">
                  <c:v>110.29084808292379</c:v>
                </c:pt>
                <c:pt idx="214">
                  <c:v>113.66901935173154</c:v>
                </c:pt>
                <c:pt idx="215">
                  <c:v>117.02518830775672</c:v>
                </c:pt>
                <c:pt idx="216">
                  <c:v>119.89943630359885</c:v>
                </c:pt>
                <c:pt idx="217">
                  <c:v>123.33954603001733</c:v>
                </c:pt>
                <c:pt idx="218">
                  <c:v>126.42909176063344</c:v>
                </c:pt>
                <c:pt idx="219">
                  <c:v>129.39123818575592</c:v>
                </c:pt>
                <c:pt idx="220">
                  <c:v>132.50817087240537</c:v>
                </c:pt>
                <c:pt idx="221">
                  <c:v>135.47476878203813</c:v>
                </c:pt>
                <c:pt idx="222">
                  <c:v>138.43144377340096</c:v>
                </c:pt>
                <c:pt idx="223">
                  <c:v>141.29231123211156</c:v>
                </c:pt>
                <c:pt idx="224">
                  <c:v>144.04370768930377</c:v>
                </c:pt>
                <c:pt idx="225">
                  <c:v>146.66348399585124</c:v>
                </c:pt>
                <c:pt idx="226">
                  <c:v>149.1524610264967</c:v>
                </c:pt>
                <c:pt idx="227">
                  <c:v>151.50082146734107</c:v>
                </c:pt>
                <c:pt idx="228">
                  <c:v>153.68748928883807</c:v>
                </c:pt>
                <c:pt idx="229">
                  <c:v>155.70668230327226</c:v>
                </c:pt>
                <c:pt idx="230">
                  <c:v>157.5495058997754</c:v>
                </c:pt>
                <c:pt idx="231">
                  <c:v>159.20707505981056</c:v>
                </c:pt>
                <c:pt idx="232">
                  <c:v>160.66464023440992</c:v>
                </c:pt>
                <c:pt idx="233">
                  <c:v>161.92691213212444</c:v>
                </c:pt>
                <c:pt idx="234">
                  <c:v>162.98127834727845</c:v>
                </c:pt>
                <c:pt idx="235">
                  <c:v>163.81895180340678</c:v>
                </c:pt>
                <c:pt idx="236">
                  <c:v>164.44954595480891</c:v>
                </c:pt>
                <c:pt idx="237">
                  <c:v>164.85653515127959</c:v>
                </c:pt>
                <c:pt idx="238">
                  <c:v>165.04103493814404</c:v>
                </c:pt>
                <c:pt idx="239">
                  <c:v>165.00794265101251</c:v>
                </c:pt>
                <c:pt idx="240">
                  <c:v>164.75535453317457</c:v>
                </c:pt>
                <c:pt idx="241">
                  <c:v>164.28462204337342</c:v>
                </c:pt>
                <c:pt idx="242">
                  <c:v>163.59666325995738</c:v>
                </c:pt>
                <c:pt idx="243">
                  <c:v>162.70109010827719</c:v>
                </c:pt>
                <c:pt idx="244">
                  <c:v>161.59742859063795</c:v>
                </c:pt>
                <c:pt idx="245">
                  <c:v>160.29309307999276</c:v>
                </c:pt>
                <c:pt idx="246">
                  <c:v>158.79666567802357</c:v>
                </c:pt>
                <c:pt idx="247">
                  <c:v>157.11264937050902</c:v>
                </c:pt>
                <c:pt idx="248">
                  <c:v>155.25093235596293</c:v>
                </c:pt>
              </c:numCache>
            </c:numRef>
          </c:val>
          <c:smooth val="0"/>
          <c:extLst>
            <c:ext xmlns:c16="http://schemas.microsoft.com/office/drawing/2014/chart" uri="{C3380CC4-5D6E-409C-BE32-E72D297353CC}">
              <c16:uniqueId val="{00000001-76E4-4310-8D88-35AA51852975}"/>
            </c:ext>
          </c:extLst>
        </c:ser>
        <c:ser>
          <c:idx val="1"/>
          <c:order val="1"/>
          <c:tx>
            <c:strRef>
              <c:f>Sheet1!$C$1</c:f>
              <c:strCache>
                <c:ptCount val="1"/>
                <c:pt idx="0">
                  <c:v>V2</c:v>
                </c:pt>
              </c:strCache>
            </c:strRef>
          </c:tx>
          <c:spPr>
            <a:ln w="28575" cap="rnd">
              <a:solidFill>
                <a:srgbClr val="FF9900"/>
              </a:solidFill>
              <a:prstDash val="solid"/>
              <a:round/>
            </a:ln>
            <a:effectLst/>
          </c:spPr>
          <c:marker>
            <c:symbol val="none"/>
          </c:marker>
          <c:cat>
            <c:numRef>
              <c:f>Sheet1!$A$2:$A$250</c:f>
              <c:numCache>
                <c:formatCode>m/d/yyyy</c:formatCode>
                <c:ptCount val="249"/>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pt idx="157">
                  <c:v>44474</c:v>
                </c:pt>
                <c:pt idx="158">
                  <c:v>44475</c:v>
                </c:pt>
                <c:pt idx="159">
                  <c:v>44476</c:v>
                </c:pt>
                <c:pt idx="160">
                  <c:v>44477</c:v>
                </c:pt>
                <c:pt idx="161">
                  <c:v>44478</c:v>
                </c:pt>
                <c:pt idx="162">
                  <c:v>44479</c:v>
                </c:pt>
                <c:pt idx="163">
                  <c:v>44480</c:v>
                </c:pt>
                <c:pt idx="164">
                  <c:v>44481</c:v>
                </c:pt>
                <c:pt idx="165">
                  <c:v>44482</c:v>
                </c:pt>
                <c:pt idx="166">
                  <c:v>44483</c:v>
                </c:pt>
                <c:pt idx="167">
                  <c:v>44484</c:v>
                </c:pt>
                <c:pt idx="168">
                  <c:v>44485</c:v>
                </c:pt>
                <c:pt idx="169">
                  <c:v>44486</c:v>
                </c:pt>
                <c:pt idx="170">
                  <c:v>44487</c:v>
                </c:pt>
                <c:pt idx="171">
                  <c:v>44488</c:v>
                </c:pt>
                <c:pt idx="172">
                  <c:v>44489</c:v>
                </c:pt>
                <c:pt idx="173">
                  <c:v>44490</c:v>
                </c:pt>
                <c:pt idx="174">
                  <c:v>44491</c:v>
                </c:pt>
                <c:pt idx="175">
                  <c:v>44492</c:v>
                </c:pt>
                <c:pt idx="176">
                  <c:v>44493</c:v>
                </c:pt>
                <c:pt idx="177">
                  <c:v>44494</c:v>
                </c:pt>
                <c:pt idx="178">
                  <c:v>44495</c:v>
                </c:pt>
                <c:pt idx="179">
                  <c:v>44496</c:v>
                </c:pt>
                <c:pt idx="180">
                  <c:v>44497</c:v>
                </c:pt>
                <c:pt idx="181">
                  <c:v>44498</c:v>
                </c:pt>
                <c:pt idx="182">
                  <c:v>44499</c:v>
                </c:pt>
                <c:pt idx="183">
                  <c:v>44500</c:v>
                </c:pt>
                <c:pt idx="184">
                  <c:v>44501</c:v>
                </c:pt>
                <c:pt idx="185">
                  <c:v>44502</c:v>
                </c:pt>
                <c:pt idx="186">
                  <c:v>44503</c:v>
                </c:pt>
                <c:pt idx="187">
                  <c:v>44504</c:v>
                </c:pt>
                <c:pt idx="188">
                  <c:v>44505</c:v>
                </c:pt>
                <c:pt idx="189">
                  <c:v>44506</c:v>
                </c:pt>
                <c:pt idx="190">
                  <c:v>44507</c:v>
                </c:pt>
                <c:pt idx="191">
                  <c:v>44508</c:v>
                </c:pt>
                <c:pt idx="192">
                  <c:v>44509</c:v>
                </c:pt>
                <c:pt idx="193">
                  <c:v>44510</c:v>
                </c:pt>
                <c:pt idx="194">
                  <c:v>44511</c:v>
                </c:pt>
                <c:pt idx="195">
                  <c:v>44512</c:v>
                </c:pt>
                <c:pt idx="196">
                  <c:v>44513</c:v>
                </c:pt>
                <c:pt idx="197">
                  <c:v>44514</c:v>
                </c:pt>
                <c:pt idx="198">
                  <c:v>44515</c:v>
                </c:pt>
                <c:pt idx="199">
                  <c:v>44516</c:v>
                </c:pt>
                <c:pt idx="200">
                  <c:v>44517</c:v>
                </c:pt>
                <c:pt idx="201">
                  <c:v>44518</c:v>
                </c:pt>
                <c:pt idx="202">
                  <c:v>44519</c:v>
                </c:pt>
                <c:pt idx="203">
                  <c:v>44520</c:v>
                </c:pt>
                <c:pt idx="204">
                  <c:v>44521</c:v>
                </c:pt>
                <c:pt idx="205">
                  <c:v>44522</c:v>
                </c:pt>
                <c:pt idx="206">
                  <c:v>44523</c:v>
                </c:pt>
                <c:pt idx="207">
                  <c:v>44524</c:v>
                </c:pt>
                <c:pt idx="208">
                  <c:v>44525</c:v>
                </c:pt>
                <c:pt idx="209">
                  <c:v>44526</c:v>
                </c:pt>
                <c:pt idx="210">
                  <c:v>44527</c:v>
                </c:pt>
                <c:pt idx="211">
                  <c:v>44528</c:v>
                </c:pt>
                <c:pt idx="212">
                  <c:v>44529</c:v>
                </c:pt>
                <c:pt idx="213">
                  <c:v>44530</c:v>
                </c:pt>
                <c:pt idx="214">
                  <c:v>44531</c:v>
                </c:pt>
                <c:pt idx="215">
                  <c:v>44532</c:v>
                </c:pt>
                <c:pt idx="216">
                  <c:v>44533</c:v>
                </c:pt>
                <c:pt idx="217">
                  <c:v>44534</c:v>
                </c:pt>
                <c:pt idx="218">
                  <c:v>44535</c:v>
                </c:pt>
                <c:pt idx="219">
                  <c:v>44536</c:v>
                </c:pt>
                <c:pt idx="220">
                  <c:v>44537</c:v>
                </c:pt>
                <c:pt idx="221">
                  <c:v>44538</c:v>
                </c:pt>
                <c:pt idx="222">
                  <c:v>44539</c:v>
                </c:pt>
                <c:pt idx="223">
                  <c:v>44540</c:v>
                </c:pt>
                <c:pt idx="224">
                  <c:v>44541</c:v>
                </c:pt>
                <c:pt idx="225">
                  <c:v>44542</c:v>
                </c:pt>
                <c:pt idx="226">
                  <c:v>44543</c:v>
                </c:pt>
                <c:pt idx="227">
                  <c:v>44544</c:v>
                </c:pt>
                <c:pt idx="228">
                  <c:v>44545</c:v>
                </c:pt>
                <c:pt idx="229">
                  <c:v>44546</c:v>
                </c:pt>
                <c:pt idx="230">
                  <c:v>44547</c:v>
                </c:pt>
                <c:pt idx="231">
                  <c:v>44548</c:v>
                </c:pt>
                <c:pt idx="232">
                  <c:v>44549</c:v>
                </c:pt>
                <c:pt idx="233">
                  <c:v>44550</c:v>
                </c:pt>
                <c:pt idx="234">
                  <c:v>44551</c:v>
                </c:pt>
                <c:pt idx="235">
                  <c:v>44552</c:v>
                </c:pt>
                <c:pt idx="236">
                  <c:v>44553</c:v>
                </c:pt>
                <c:pt idx="237">
                  <c:v>44554</c:v>
                </c:pt>
                <c:pt idx="238">
                  <c:v>44555</c:v>
                </c:pt>
                <c:pt idx="239">
                  <c:v>44556</c:v>
                </c:pt>
                <c:pt idx="240">
                  <c:v>44557</c:v>
                </c:pt>
                <c:pt idx="241">
                  <c:v>44558</c:v>
                </c:pt>
                <c:pt idx="242">
                  <c:v>44559</c:v>
                </c:pt>
                <c:pt idx="243">
                  <c:v>44560</c:v>
                </c:pt>
                <c:pt idx="244">
                  <c:v>44561</c:v>
                </c:pt>
                <c:pt idx="245">
                  <c:v>44562</c:v>
                </c:pt>
                <c:pt idx="246">
                  <c:v>44563</c:v>
                </c:pt>
                <c:pt idx="247">
                  <c:v>44564</c:v>
                </c:pt>
                <c:pt idx="248">
                  <c:v>44565</c:v>
                </c:pt>
              </c:numCache>
            </c:numRef>
          </c:cat>
          <c:val>
            <c:numRef>
              <c:f>Sheet1!$C$2:$C$250</c:f>
              <c:numCache>
                <c:formatCode>General</c:formatCode>
                <c:ptCount val="249"/>
                <c:pt idx="195">
                  <c:v>64.523724714654563</c:v>
                </c:pt>
                <c:pt idx="196">
                  <c:v>65.24143728148114</c:v>
                </c:pt>
                <c:pt idx="197">
                  <c:v>67.705106318516883</c:v>
                </c:pt>
                <c:pt idx="198">
                  <c:v>70.770587690836564</c:v>
                </c:pt>
                <c:pt idx="199">
                  <c:v>71.579165436435034</c:v>
                </c:pt>
                <c:pt idx="200">
                  <c:v>74.016828761072887</c:v>
                </c:pt>
                <c:pt idx="201">
                  <c:v>75.136036758279303</c:v>
                </c:pt>
                <c:pt idx="202">
                  <c:v>75.574316679087417</c:v>
                </c:pt>
                <c:pt idx="203">
                  <c:v>76.460725932015094</c:v>
                </c:pt>
                <c:pt idx="204">
                  <c:v>77.726081576507582</c:v>
                </c:pt>
                <c:pt idx="205">
                  <c:v>79.357877958099238</c:v>
                </c:pt>
                <c:pt idx="206">
                  <c:v>80.149596550939023</c:v>
                </c:pt>
                <c:pt idx="207">
                  <c:v>82.375770670565444</c:v>
                </c:pt>
                <c:pt idx="208">
                  <c:v>83.496086447089141</c:v>
                </c:pt>
                <c:pt idx="209">
                  <c:v>84.1613202342552</c:v>
                </c:pt>
                <c:pt idx="210">
                  <c:v>84.940727032652191</c:v>
                </c:pt>
                <c:pt idx="211">
                  <c:v>86.185852221797518</c:v>
                </c:pt>
                <c:pt idx="212">
                  <c:v>87.247176349736321</c:v>
                </c:pt>
                <c:pt idx="213">
                  <c:v>88.035992306846182</c:v>
                </c:pt>
                <c:pt idx="214">
                  <c:v>89.172311695695399</c:v>
                </c:pt>
                <c:pt idx="215">
                  <c:v>90.216913679022909</c:v>
                </c:pt>
                <c:pt idx="216">
                  <c:v>90.72278303307354</c:v>
                </c:pt>
                <c:pt idx="217">
                  <c:v>91.777280628700368</c:v>
                </c:pt>
                <c:pt idx="218">
                  <c:v>92.418347965236052</c:v>
                </c:pt>
                <c:pt idx="219">
                  <c:v>92.914569567298443</c:v>
                </c:pt>
                <c:pt idx="220">
                  <c:v>93.565485726455279</c:v>
                </c:pt>
                <c:pt idx="221">
                  <c:v>94.048667151660922</c:v>
                </c:pt>
                <c:pt idx="222">
                  <c:v>94.544935183610761</c:v>
                </c:pt>
                <c:pt idx="223">
                  <c:v>94.968630657157931</c:v>
                </c:pt>
                <c:pt idx="224">
                  <c:v>95.317863737207404</c:v>
                </c:pt>
                <c:pt idx="225">
                  <c:v>95.5820364653231</c:v>
                </c:pt>
                <c:pt idx="226">
                  <c:v>95.773350160422851</c:v>
                </c:pt>
                <c:pt idx="227">
                  <c:v>95.89312862737971</c:v>
                </c:pt>
                <c:pt idx="228">
                  <c:v>95.93100086751501</c:v>
                </c:pt>
                <c:pt idx="229">
                  <c:v>95.891581322553535</c:v>
                </c:pt>
                <c:pt idx="230">
                  <c:v>95.77585588586355</c:v>
                </c:pt>
                <c:pt idx="231">
                  <c:v>95.584189746052999</c:v>
                </c:pt>
                <c:pt idx="232">
                  <c:v>95.310285519781445</c:v>
                </c:pt>
                <c:pt idx="233">
                  <c:v>94.966625297298933</c:v>
                </c:pt>
                <c:pt idx="234">
                  <c:v>94.547590066488596</c:v>
                </c:pt>
                <c:pt idx="235">
                  <c:v>94.050535531497559</c:v>
                </c:pt>
                <c:pt idx="236">
                  <c:v>93.490470806265506</c:v>
                </c:pt>
                <c:pt idx="237">
                  <c:v>92.855267503757673</c:v>
                </c:pt>
                <c:pt idx="238">
                  <c:v>92.14944993747244</c:v>
                </c:pt>
                <c:pt idx="239">
                  <c:v>91.380396745272321</c:v>
                </c:pt>
                <c:pt idx="240">
                  <c:v>90.54771837258626</c:v>
                </c:pt>
                <c:pt idx="241">
                  <c:v>89.653338597229251</c:v>
                </c:pt>
                <c:pt idx="242">
                  <c:v>88.697784944831611</c:v>
                </c:pt>
                <c:pt idx="243">
                  <c:v>87.689452212470314</c:v>
                </c:pt>
                <c:pt idx="244">
                  <c:v>86.625725567185924</c:v>
                </c:pt>
                <c:pt idx="245">
                  <c:v>85.511023301568159</c:v>
                </c:pt>
                <c:pt idx="246">
                  <c:v>84.350165296549548</c:v>
                </c:pt>
                <c:pt idx="247">
                  <c:v>83.14314581253231</c:v>
                </c:pt>
                <c:pt idx="248">
                  <c:v>81.894672771416552</c:v>
                </c:pt>
              </c:numCache>
            </c:numRef>
          </c:val>
          <c:smooth val="0"/>
          <c:extLst>
            <c:ext xmlns:c16="http://schemas.microsoft.com/office/drawing/2014/chart" uri="{C3380CC4-5D6E-409C-BE32-E72D297353CC}">
              <c16:uniqueId val="{00000002-76E4-4310-8D88-35AA51852975}"/>
            </c:ext>
          </c:extLst>
        </c:ser>
        <c:ser>
          <c:idx val="2"/>
          <c:order val="2"/>
          <c:tx>
            <c:strRef>
              <c:f>Sheet1!$D$1</c:f>
              <c:strCache>
                <c:ptCount val="1"/>
                <c:pt idx="0">
                  <c:v>V3</c:v>
                </c:pt>
              </c:strCache>
            </c:strRef>
          </c:tx>
          <c:spPr>
            <a:ln w="28575" cap="rnd">
              <a:solidFill>
                <a:srgbClr val="4472C4"/>
              </a:solidFill>
              <a:prstDash val="sysDash"/>
              <a:round/>
            </a:ln>
            <a:effectLst/>
          </c:spPr>
          <c:marker>
            <c:symbol val="none"/>
          </c:marker>
          <c:cat>
            <c:numRef>
              <c:f>Sheet1!$A$2:$A$250</c:f>
              <c:numCache>
                <c:formatCode>m/d/yyyy</c:formatCode>
                <c:ptCount val="249"/>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pt idx="157">
                  <c:v>44474</c:v>
                </c:pt>
                <c:pt idx="158">
                  <c:v>44475</c:v>
                </c:pt>
                <c:pt idx="159">
                  <c:v>44476</c:v>
                </c:pt>
                <c:pt idx="160">
                  <c:v>44477</c:v>
                </c:pt>
                <c:pt idx="161">
                  <c:v>44478</c:v>
                </c:pt>
                <c:pt idx="162">
                  <c:v>44479</c:v>
                </c:pt>
                <c:pt idx="163">
                  <c:v>44480</c:v>
                </c:pt>
                <c:pt idx="164">
                  <c:v>44481</c:v>
                </c:pt>
                <c:pt idx="165">
                  <c:v>44482</c:v>
                </c:pt>
                <c:pt idx="166">
                  <c:v>44483</c:v>
                </c:pt>
                <c:pt idx="167">
                  <c:v>44484</c:v>
                </c:pt>
                <c:pt idx="168">
                  <c:v>44485</c:v>
                </c:pt>
                <c:pt idx="169">
                  <c:v>44486</c:v>
                </c:pt>
                <c:pt idx="170">
                  <c:v>44487</c:v>
                </c:pt>
                <c:pt idx="171">
                  <c:v>44488</c:v>
                </c:pt>
                <c:pt idx="172">
                  <c:v>44489</c:v>
                </c:pt>
                <c:pt idx="173">
                  <c:v>44490</c:v>
                </c:pt>
                <c:pt idx="174">
                  <c:v>44491</c:v>
                </c:pt>
                <c:pt idx="175">
                  <c:v>44492</c:v>
                </c:pt>
                <c:pt idx="176">
                  <c:v>44493</c:v>
                </c:pt>
                <c:pt idx="177">
                  <c:v>44494</c:v>
                </c:pt>
                <c:pt idx="178">
                  <c:v>44495</c:v>
                </c:pt>
                <c:pt idx="179">
                  <c:v>44496</c:v>
                </c:pt>
                <c:pt idx="180">
                  <c:v>44497</c:v>
                </c:pt>
                <c:pt idx="181">
                  <c:v>44498</c:v>
                </c:pt>
                <c:pt idx="182">
                  <c:v>44499</c:v>
                </c:pt>
                <c:pt idx="183">
                  <c:v>44500</c:v>
                </c:pt>
                <c:pt idx="184">
                  <c:v>44501</c:v>
                </c:pt>
                <c:pt idx="185">
                  <c:v>44502</c:v>
                </c:pt>
                <c:pt idx="186">
                  <c:v>44503</c:v>
                </c:pt>
                <c:pt idx="187">
                  <c:v>44504</c:v>
                </c:pt>
                <c:pt idx="188">
                  <c:v>44505</c:v>
                </c:pt>
                <c:pt idx="189">
                  <c:v>44506</c:v>
                </c:pt>
                <c:pt idx="190">
                  <c:v>44507</c:v>
                </c:pt>
                <c:pt idx="191">
                  <c:v>44508</c:v>
                </c:pt>
                <c:pt idx="192">
                  <c:v>44509</c:v>
                </c:pt>
                <c:pt idx="193">
                  <c:v>44510</c:v>
                </c:pt>
                <c:pt idx="194">
                  <c:v>44511</c:v>
                </c:pt>
                <c:pt idx="195">
                  <c:v>44512</c:v>
                </c:pt>
                <c:pt idx="196">
                  <c:v>44513</c:v>
                </c:pt>
                <c:pt idx="197">
                  <c:v>44514</c:v>
                </c:pt>
                <c:pt idx="198">
                  <c:v>44515</c:v>
                </c:pt>
                <c:pt idx="199">
                  <c:v>44516</c:v>
                </c:pt>
                <c:pt idx="200">
                  <c:v>44517</c:v>
                </c:pt>
                <c:pt idx="201">
                  <c:v>44518</c:v>
                </c:pt>
                <c:pt idx="202">
                  <c:v>44519</c:v>
                </c:pt>
                <c:pt idx="203">
                  <c:v>44520</c:v>
                </c:pt>
                <c:pt idx="204">
                  <c:v>44521</c:v>
                </c:pt>
                <c:pt idx="205">
                  <c:v>44522</c:v>
                </c:pt>
                <c:pt idx="206">
                  <c:v>44523</c:v>
                </c:pt>
                <c:pt idx="207">
                  <c:v>44524</c:v>
                </c:pt>
                <c:pt idx="208">
                  <c:v>44525</c:v>
                </c:pt>
                <c:pt idx="209">
                  <c:v>44526</c:v>
                </c:pt>
                <c:pt idx="210">
                  <c:v>44527</c:v>
                </c:pt>
                <c:pt idx="211">
                  <c:v>44528</c:v>
                </c:pt>
                <c:pt idx="212">
                  <c:v>44529</c:v>
                </c:pt>
                <c:pt idx="213">
                  <c:v>44530</c:v>
                </c:pt>
                <c:pt idx="214">
                  <c:v>44531</c:v>
                </c:pt>
                <c:pt idx="215">
                  <c:v>44532</c:v>
                </c:pt>
                <c:pt idx="216">
                  <c:v>44533</c:v>
                </c:pt>
                <c:pt idx="217">
                  <c:v>44534</c:v>
                </c:pt>
                <c:pt idx="218">
                  <c:v>44535</c:v>
                </c:pt>
                <c:pt idx="219">
                  <c:v>44536</c:v>
                </c:pt>
                <c:pt idx="220">
                  <c:v>44537</c:v>
                </c:pt>
                <c:pt idx="221">
                  <c:v>44538</c:v>
                </c:pt>
                <c:pt idx="222">
                  <c:v>44539</c:v>
                </c:pt>
                <c:pt idx="223">
                  <c:v>44540</c:v>
                </c:pt>
                <c:pt idx="224">
                  <c:v>44541</c:v>
                </c:pt>
                <c:pt idx="225">
                  <c:v>44542</c:v>
                </c:pt>
                <c:pt idx="226">
                  <c:v>44543</c:v>
                </c:pt>
                <c:pt idx="227">
                  <c:v>44544</c:v>
                </c:pt>
                <c:pt idx="228">
                  <c:v>44545</c:v>
                </c:pt>
                <c:pt idx="229">
                  <c:v>44546</c:v>
                </c:pt>
                <c:pt idx="230">
                  <c:v>44547</c:v>
                </c:pt>
                <c:pt idx="231">
                  <c:v>44548</c:v>
                </c:pt>
                <c:pt idx="232">
                  <c:v>44549</c:v>
                </c:pt>
                <c:pt idx="233">
                  <c:v>44550</c:v>
                </c:pt>
                <c:pt idx="234">
                  <c:v>44551</c:v>
                </c:pt>
                <c:pt idx="235">
                  <c:v>44552</c:v>
                </c:pt>
                <c:pt idx="236">
                  <c:v>44553</c:v>
                </c:pt>
                <c:pt idx="237">
                  <c:v>44554</c:v>
                </c:pt>
                <c:pt idx="238">
                  <c:v>44555</c:v>
                </c:pt>
                <c:pt idx="239">
                  <c:v>44556</c:v>
                </c:pt>
                <c:pt idx="240">
                  <c:v>44557</c:v>
                </c:pt>
                <c:pt idx="241">
                  <c:v>44558</c:v>
                </c:pt>
                <c:pt idx="242">
                  <c:v>44559</c:v>
                </c:pt>
                <c:pt idx="243">
                  <c:v>44560</c:v>
                </c:pt>
                <c:pt idx="244">
                  <c:v>44561</c:v>
                </c:pt>
                <c:pt idx="245">
                  <c:v>44562</c:v>
                </c:pt>
                <c:pt idx="246">
                  <c:v>44563</c:v>
                </c:pt>
                <c:pt idx="247">
                  <c:v>44564</c:v>
                </c:pt>
                <c:pt idx="248">
                  <c:v>44565</c:v>
                </c:pt>
              </c:numCache>
            </c:numRef>
          </c:cat>
          <c:val>
            <c:numRef>
              <c:f>Sheet1!$D$2:$D$250</c:f>
              <c:numCache>
                <c:formatCode>General</c:formatCode>
                <c:ptCount val="249"/>
                <c:pt idx="195">
                  <c:v>64.585956644619955</c:v>
                </c:pt>
                <c:pt idx="196">
                  <c:v>65.429539007251833</c:v>
                </c:pt>
                <c:pt idx="197">
                  <c:v>68.0704326089011</c:v>
                </c:pt>
                <c:pt idx="198">
                  <c:v>71.35985509021107</c:v>
                </c:pt>
                <c:pt idx="199">
                  <c:v>72.439931089804674</c:v>
                </c:pt>
                <c:pt idx="200">
                  <c:v>75.204386877958996</c:v>
                </c:pt>
                <c:pt idx="201">
                  <c:v>76.715220829178861</c:v>
                </c:pt>
                <c:pt idx="202">
                  <c:v>77.627995655843989</c:v>
                </c:pt>
                <c:pt idx="203">
                  <c:v>79.022760397514517</c:v>
                </c:pt>
                <c:pt idx="204">
                  <c:v>80.870489271016368</c:v>
                </c:pt>
                <c:pt idx="205">
                  <c:v>83.12663289808421</c:v>
                </c:pt>
                <c:pt idx="206">
                  <c:v>84.607168649340892</c:v>
                </c:pt>
                <c:pt idx="207">
                  <c:v>87.558015493530092</c:v>
                </c:pt>
                <c:pt idx="208">
                  <c:v>89.464178691031364</c:v>
                </c:pt>
                <c:pt idx="209">
                  <c:v>90.12452161289842</c:v>
                </c:pt>
                <c:pt idx="210">
                  <c:v>92.637690753969764</c:v>
                </c:pt>
                <c:pt idx="211">
                  <c:v>94.816999794150306</c:v>
                </c:pt>
                <c:pt idx="212">
                  <c:v>96.840990098232965</c:v>
                </c:pt>
                <c:pt idx="213">
                  <c:v>98.605712777266959</c:v>
                </c:pt>
                <c:pt idx="214">
                  <c:v>100.76988952431996</c:v>
                </c:pt>
                <c:pt idx="215">
                  <c:v>102.86913653702138</c:v>
                </c:pt>
                <c:pt idx="216">
                  <c:v>104.45028013981177</c:v>
                </c:pt>
                <c:pt idx="217">
                  <c:v>106.58136387224037</c:v>
                </c:pt>
                <c:pt idx="218">
                  <c:v>108.32365591473815</c:v>
                </c:pt>
                <c:pt idx="219">
                  <c:v>109.92372673535628</c:v>
                </c:pt>
                <c:pt idx="220">
                  <c:v>111.67325335718159</c:v>
                </c:pt>
                <c:pt idx="221">
                  <c:v>113.25935513799506</c:v>
                </c:pt>
                <c:pt idx="222">
                  <c:v>114.84370496177341</c:v>
                </c:pt>
                <c:pt idx="223">
                  <c:v>116.3416584747937</c:v>
                </c:pt>
                <c:pt idx="224">
                  <c:v>117.74665517762161</c:v>
                </c:pt>
                <c:pt idx="225">
                  <c:v>119.04359746958441</c:v>
                </c:pt>
                <c:pt idx="226">
                  <c:v>120.24032163218068</c:v>
                </c:pt>
                <c:pt idx="227">
                  <c:v>121.33394166042834</c:v>
                </c:pt>
                <c:pt idx="228">
                  <c:v>122.31010903388218</c:v>
                </c:pt>
                <c:pt idx="229">
                  <c:v>123.1696153111002</c:v>
                </c:pt>
                <c:pt idx="230">
                  <c:v>123.90985859936748</c:v>
                </c:pt>
                <c:pt idx="231">
                  <c:v>124.52788900652874</c:v>
                </c:pt>
                <c:pt idx="232">
                  <c:v>125.01442916828347</c:v>
                </c:pt>
                <c:pt idx="233">
                  <c:v>125.37924643312977</c:v>
                </c:pt>
                <c:pt idx="234">
                  <c:v>125.61430591046735</c:v>
                </c:pt>
                <c:pt idx="235">
                  <c:v>125.71486681433747</c:v>
                </c:pt>
                <c:pt idx="236">
                  <c:v>125.69410147219567</c:v>
                </c:pt>
                <c:pt idx="237">
                  <c:v>125.53841296338568</c:v>
                </c:pt>
                <c:pt idx="238">
                  <c:v>125.25120842736524</c:v>
                </c:pt>
                <c:pt idx="239">
                  <c:v>124.83906826471579</c:v>
                </c:pt>
                <c:pt idx="240">
                  <c:v>124.30113971013253</c:v>
                </c:pt>
                <c:pt idx="241">
                  <c:v>123.63920302941857</c:v>
                </c:pt>
                <c:pt idx="242">
                  <c:v>122.85397056289008</c:v>
                </c:pt>
                <c:pt idx="243">
                  <c:v>121.95428916686437</c:v>
                </c:pt>
                <c:pt idx="244">
                  <c:v>120.93831160328689</c:v>
                </c:pt>
                <c:pt idx="245">
                  <c:v>119.81151106227738</c:v>
                </c:pt>
                <c:pt idx="246">
                  <c:v>118.58001550523342</c:v>
                </c:pt>
                <c:pt idx="247">
                  <c:v>117.24537952633068</c:v>
                </c:pt>
                <c:pt idx="248">
                  <c:v>115.81409670094361</c:v>
                </c:pt>
              </c:numCache>
            </c:numRef>
          </c:val>
          <c:smooth val="0"/>
          <c:extLst>
            <c:ext xmlns:c16="http://schemas.microsoft.com/office/drawing/2014/chart" uri="{C3380CC4-5D6E-409C-BE32-E72D297353CC}">
              <c16:uniqueId val="{00000003-76E4-4310-8D88-35AA51852975}"/>
            </c:ext>
          </c:extLst>
        </c:ser>
        <c:ser>
          <c:idx val="4"/>
          <c:order val="3"/>
          <c:tx>
            <c:strRef>
              <c:f>Sheet1!$F$1</c:f>
              <c:strCache>
                <c:ptCount val="1"/>
                <c:pt idx="0">
                  <c:v>C</c:v>
                </c:pt>
              </c:strCache>
            </c:strRef>
          </c:tx>
          <c:spPr>
            <a:ln w="28575" cap="rnd">
              <a:solidFill>
                <a:srgbClr val="FF9900"/>
              </a:solidFill>
              <a:round/>
            </a:ln>
            <a:effectLst/>
          </c:spPr>
          <c:marker>
            <c:symbol val="none"/>
          </c:marker>
          <c:cat>
            <c:numRef>
              <c:f>Sheet1!$A$2:$A$250</c:f>
              <c:numCache>
                <c:formatCode>m/d/yyyy</c:formatCode>
                <c:ptCount val="249"/>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pt idx="157">
                  <c:v>44474</c:v>
                </c:pt>
                <c:pt idx="158">
                  <c:v>44475</c:v>
                </c:pt>
                <c:pt idx="159">
                  <c:v>44476</c:v>
                </c:pt>
                <c:pt idx="160">
                  <c:v>44477</c:v>
                </c:pt>
                <c:pt idx="161">
                  <c:v>44478</c:v>
                </c:pt>
                <c:pt idx="162">
                  <c:v>44479</c:v>
                </c:pt>
                <c:pt idx="163">
                  <c:v>44480</c:v>
                </c:pt>
                <c:pt idx="164">
                  <c:v>44481</c:v>
                </c:pt>
                <c:pt idx="165">
                  <c:v>44482</c:v>
                </c:pt>
                <c:pt idx="166">
                  <c:v>44483</c:v>
                </c:pt>
                <c:pt idx="167">
                  <c:v>44484</c:v>
                </c:pt>
                <c:pt idx="168">
                  <c:v>44485</c:v>
                </c:pt>
                <c:pt idx="169">
                  <c:v>44486</c:v>
                </c:pt>
                <c:pt idx="170">
                  <c:v>44487</c:v>
                </c:pt>
                <c:pt idx="171">
                  <c:v>44488</c:v>
                </c:pt>
                <c:pt idx="172">
                  <c:v>44489</c:v>
                </c:pt>
                <c:pt idx="173">
                  <c:v>44490</c:v>
                </c:pt>
                <c:pt idx="174">
                  <c:v>44491</c:v>
                </c:pt>
                <c:pt idx="175">
                  <c:v>44492</c:v>
                </c:pt>
                <c:pt idx="176">
                  <c:v>44493</c:v>
                </c:pt>
                <c:pt idx="177">
                  <c:v>44494</c:v>
                </c:pt>
                <c:pt idx="178">
                  <c:v>44495</c:v>
                </c:pt>
                <c:pt idx="179">
                  <c:v>44496</c:v>
                </c:pt>
                <c:pt idx="180">
                  <c:v>44497</c:v>
                </c:pt>
                <c:pt idx="181">
                  <c:v>44498</c:v>
                </c:pt>
                <c:pt idx="182">
                  <c:v>44499</c:v>
                </c:pt>
                <c:pt idx="183">
                  <c:v>44500</c:v>
                </c:pt>
                <c:pt idx="184">
                  <c:v>44501</c:v>
                </c:pt>
                <c:pt idx="185">
                  <c:v>44502</c:v>
                </c:pt>
                <c:pt idx="186">
                  <c:v>44503</c:v>
                </c:pt>
                <c:pt idx="187">
                  <c:v>44504</c:v>
                </c:pt>
                <c:pt idx="188">
                  <c:v>44505</c:v>
                </c:pt>
                <c:pt idx="189">
                  <c:v>44506</c:v>
                </c:pt>
                <c:pt idx="190">
                  <c:v>44507</c:v>
                </c:pt>
                <c:pt idx="191">
                  <c:v>44508</c:v>
                </c:pt>
                <c:pt idx="192">
                  <c:v>44509</c:v>
                </c:pt>
                <c:pt idx="193">
                  <c:v>44510</c:v>
                </c:pt>
                <c:pt idx="194">
                  <c:v>44511</c:v>
                </c:pt>
                <c:pt idx="195">
                  <c:v>44512</c:v>
                </c:pt>
                <c:pt idx="196">
                  <c:v>44513</c:v>
                </c:pt>
                <c:pt idx="197">
                  <c:v>44514</c:v>
                </c:pt>
                <c:pt idx="198">
                  <c:v>44515</c:v>
                </c:pt>
                <c:pt idx="199">
                  <c:v>44516</c:v>
                </c:pt>
                <c:pt idx="200">
                  <c:v>44517</c:v>
                </c:pt>
                <c:pt idx="201">
                  <c:v>44518</c:v>
                </c:pt>
                <c:pt idx="202">
                  <c:v>44519</c:v>
                </c:pt>
                <c:pt idx="203">
                  <c:v>44520</c:v>
                </c:pt>
                <c:pt idx="204">
                  <c:v>44521</c:v>
                </c:pt>
                <c:pt idx="205">
                  <c:v>44522</c:v>
                </c:pt>
                <c:pt idx="206">
                  <c:v>44523</c:v>
                </c:pt>
                <c:pt idx="207">
                  <c:v>44524</c:v>
                </c:pt>
                <c:pt idx="208">
                  <c:v>44525</c:v>
                </c:pt>
                <c:pt idx="209">
                  <c:v>44526</c:v>
                </c:pt>
                <c:pt idx="210">
                  <c:v>44527</c:v>
                </c:pt>
                <c:pt idx="211">
                  <c:v>44528</c:v>
                </c:pt>
                <c:pt idx="212">
                  <c:v>44529</c:v>
                </c:pt>
                <c:pt idx="213">
                  <c:v>44530</c:v>
                </c:pt>
                <c:pt idx="214">
                  <c:v>44531</c:v>
                </c:pt>
                <c:pt idx="215">
                  <c:v>44532</c:v>
                </c:pt>
                <c:pt idx="216">
                  <c:v>44533</c:v>
                </c:pt>
                <c:pt idx="217">
                  <c:v>44534</c:v>
                </c:pt>
                <c:pt idx="218">
                  <c:v>44535</c:v>
                </c:pt>
                <c:pt idx="219">
                  <c:v>44536</c:v>
                </c:pt>
                <c:pt idx="220">
                  <c:v>44537</c:v>
                </c:pt>
                <c:pt idx="221">
                  <c:v>44538</c:v>
                </c:pt>
                <c:pt idx="222">
                  <c:v>44539</c:v>
                </c:pt>
                <c:pt idx="223">
                  <c:v>44540</c:v>
                </c:pt>
                <c:pt idx="224">
                  <c:v>44541</c:v>
                </c:pt>
                <c:pt idx="225">
                  <c:v>44542</c:v>
                </c:pt>
                <c:pt idx="226">
                  <c:v>44543</c:v>
                </c:pt>
                <c:pt idx="227">
                  <c:v>44544</c:v>
                </c:pt>
                <c:pt idx="228">
                  <c:v>44545</c:v>
                </c:pt>
                <c:pt idx="229">
                  <c:v>44546</c:v>
                </c:pt>
                <c:pt idx="230">
                  <c:v>44547</c:v>
                </c:pt>
                <c:pt idx="231">
                  <c:v>44548</c:v>
                </c:pt>
                <c:pt idx="232">
                  <c:v>44549</c:v>
                </c:pt>
                <c:pt idx="233">
                  <c:v>44550</c:v>
                </c:pt>
                <c:pt idx="234">
                  <c:v>44551</c:v>
                </c:pt>
                <c:pt idx="235">
                  <c:v>44552</c:v>
                </c:pt>
                <c:pt idx="236">
                  <c:v>44553</c:v>
                </c:pt>
                <c:pt idx="237">
                  <c:v>44554</c:v>
                </c:pt>
                <c:pt idx="238">
                  <c:v>44555</c:v>
                </c:pt>
                <c:pt idx="239">
                  <c:v>44556</c:v>
                </c:pt>
                <c:pt idx="240">
                  <c:v>44557</c:v>
                </c:pt>
                <c:pt idx="241">
                  <c:v>44558</c:v>
                </c:pt>
                <c:pt idx="242">
                  <c:v>44559</c:v>
                </c:pt>
                <c:pt idx="243">
                  <c:v>44560</c:v>
                </c:pt>
                <c:pt idx="244">
                  <c:v>44561</c:v>
                </c:pt>
                <c:pt idx="245">
                  <c:v>44562</c:v>
                </c:pt>
                <c:pt idx="246">
                  <c:v>44563</c:v>
                </c:pt>
                <c:pt idx="247">
                  <c:v>44564</c:v>
                </c:pt>
                <c:pt idx="248">
                  <c:v>44565</c:v>
                </c:pt>
              </c:numCache>
            </c:numRef>
          </c:cat>
          <c:val>
            <c:numRef>
              <c:f>Sheet1!$F$2:$F$250</c:f>
              <c:numCache>
                <c:formatCode>General</c:formatCode>
                <c:ptCount val="249"/>
              </c:numCache>
            </c:numRef>
          </c:val>
          <c:smooth val="0"/>
          <c:extLst>
            <c:ext xmlns:c16="http://schemas.microsoft.com/office/drawing/2014/chart" uri="{C3380CC4-5D6E-409C-BE32-E72D297353CC}">
              <c16:uniqueId val="{00000004-76E4-4310-8D88-35AA51852975}"/>
            </c:ext>
          </c:extLst>
        </c:ser>
        <c:dLbls>
          <c:showLegendKey val="0"/>
          <c:showVal val="0"/>
          <c:showCatName val="0"/>
          <c:showSerName val="0"/>
          <c:showPercent val="0"/>
          <c:showBubbleSize val="0"/>
        </c:dLbls>
        <c:marker val="1"/>
        <c:smooth val="0"/>
        <c:axId val="207093791"/>
        <c:axId val="209778303"/>
      </c:lineChart>
      <c:cat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209778303"/>
        <c:crosses val="autoZero"/>
        <c:auto val="1"/>
        <c:lblAlgn val="ctr"/>
        <c:lblOffset val="100"/>
        <c:tickLblSkip val="7"/>
        <c:noMultiLvlLbl val="1"/>
      </c:catAx>
      <c:valAx>
        <c:axId val="209778303"/>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egendEntry>
        <c:idx val="4"/>
        <c:delete val="1"/>
      </c:legendEntry>
      <c:layout>
        <c:manualLayout>
          <c:xMode val="edge"/>
          <c:yMode val="edge"/>
          <c:x val="0.20000242690338468"/>
          <c:y val="4.6874997116449491E-2"/>
          <c:w val="0.14188217964413682"/>
          <c:h val="4.7962349411764922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0271617670208821"/>
          <c:w val="0.91692139603581668"/>
          <c:h val="0.71344666460445894"/>
        </c:manualLayout>
      </c:layout>
      <c:barChart>
        <c:barDir val="col"/>
        <c:grouping val="clustered"/>
        <c:varyColors val="0"/>
        <c:ser>
          <c:idx val="0"/>
          <c:order val="0"/>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141:$A$297</c:f>
              <c:numCache>
                <c:formatCode>m/d/yyyy</c:formatCode>
                <c:ptCount val="157"/>
                <c:pt idx="0">
                  <c:v>44395</c:v>
                </c:pt>
                <c:pt idx="1">
                  <c:v>44396</c:v>
                </c:pt>
                <c:pt idx="2">
                  <c:v>44397</c:v>
                </c:pt>
                <c:pt idx="3">
                  <c:v>44398</c:v>
                </c:pt>
                <c:pt idx="4">
                  <c:v>44399</c:v>
                </c:pt>
                <c:pt idx="5">
                  <c:v>44400</c:v>
                </c:pt>
                <c:pt idx="6">
                  <c:v>44401</c:v>
                </c:pt>
                <c:pt idx="7">
                  <c:v>44402</c:v>
                </c:pt>
                <c:pt idx="8">
                  <c:v>44403</c:v>
                </c:pt>
                <c:pt idx="9">
                  <c:v>44404</c:v>
                </c:pt>
                <c:pt idx="10">
                  <c:v>44405</c:v>
                </c:pt>
                <c:pt idx="11">
                  <c:v>44406</c:v>
                </c:pt>
                <c:pt idx="12">
                  <c:v>44407</c:v>
                </c:pt>
                <c:pt idx="13">
                  <c:v>44408</c:v>
                </c:pt>
                <c:pt idx="14">
                  <c:v>44409</c:v>
                </c:pt>
                <c:pt idx="15">
                  <c:v>44410</c:v>
                </c:pt>
                <c:pt idx="16">
                  <c:v>44411</c:v>
                </c:pt>
                <c:pt idx="17">
                  <c:v>44412</c:v>
                </c:pt>
                <c:pt idx="18">
                  <c:v>44413</c:v>
                </c:pt>
                <c:pt idx="19">
                  <c:v>44414</c:v>
                </c:pt>
                <c:pt idx="20">
                  <c:v>44415</c:v>
                </c:pt>
                <c:pt idx="21">
                  <c:v>44416</c:v>
                </c:pt>
                <c:pt idx="22">
                  <c:v>44417</c:v>
                </c:pt>
                <c:pt idx="23">
                  <c:v>44418</c:v>
                </c:pt>
                <c:pt idx="24">
                  <c:v>44419</c:v>
                </c:pt>
                <c:pt idx="25">
                  <c:v>44420</c:v>
                </c:pt>
                <c:pt idx="26">
                  <c:v>44421</c:v>
                </c:pt>
                <c:pt idx="27">
                  <c:v>44422</c:v>
                </c:pt>
                <c:pt idx="28">
                  <c:v>44423</c:v>
                </c:pt>
                <c:pt idx="29">
                  <c:v>44424</c:v>
                </c:pt>
                <c:pt idx="30">
                  <c:v>44425</c:v>
                </c:pt>
                <c:pt idx="31">
                  <c:v>44426</c:v>
                </c:pt>
                <c:pt idx="32">
                  <c:v>44427</c:v>
                </c:pt>
                <c:pt idx="33">
                  <c:v>44428</c:v>
                </c:pt>
                <c:pt idx="34">
                  <c:v>44429</c:v>
                </c:pt>
                <c:pt idx="35">
                  <c:v>44430</c:v>
                </c:pt>
                <c:pt idx="36">
                  <c:v>44431</c:v>
                </c:pt>
                <c:pt idx="37">
                  <c:v>44432</c:v>
                </c:pt>
                <c:pt idx="38">
                  <c:v>44433</c:v>
                </c:pt>
                <c:pt idx="39">
                  <c:v>44434</c:v>
                </c:pt>
                <c:pt idx="40">
                  <c:v>44435</c:v>
                </c:pt>
                <c:pt idx="41">
                  <c:v>44436</c:v>
                </c:pt>
                <c:pt idx="42">
                  <c:v>44437</c:v>
                </c:pt>
                <c:pt idx="43">
                  <c:v>44438</c:v>
                </c:pt>
                <c:pt idx="44">
                  <c:v>44439</c:v>
                </c:pt>
                <c:pt idx="45">
                  <c:v>44440</c:v>
                </c:pt>
                <c:pt idx="46">
                  <c:v>44441</c:v>
                </c:pt>
                <c:pt idx="47">
                  <c:v>44442</c:v>
                </c:pt>
                <c:pt idx="48">
                  <c:v>44443</c:v>
                </c:pt>
                <c:pt idx="49">
                  <c:v>44444</c:v>
                </c:pt>
                <c:pt idx="50">
                  <c:v>44445</c:v>
                </c:pt>
                <c:pt idx="51">
                  <c:v>44446</c:v>
                </c:pt>
                <c:pt idx="52">
                  <c:v>44447</c:v>
                </c:pt>
                <c:pt idx="53">
                  <c:v>44448</c:v>
                </c:pt>
                <c:pt idx="54">
                  <c:v>44449</c:v>
                </c:pt>
                <c:pt idx="55">
                  <c:v>44450</c:v>
                </c:pt>
                <c:pt idx="56">
                  <c:v>44451</c:v>
                </c:pt>
                <c:pt idx="57">
                  <c:v>44452</c:v>
                </c:pt>
                <c:pt idx="58">
                  <c:v>44453</c:v>
                </c:pt>
                <c:pt idx="59">
                  <c:v>44454</c:v>
                </c:pt>
                <c:pt idx="60">
                  <c:v>44455</c:v>
                </c:pt>
                <c:pt idx="61">
                  <c:v>44456</c:v>
                </c:pt>
                <c:pt idx="62">
                  <c:v>44457</c:v>
                </c:pt>
                <c:pt idx="63">
                  <c:v>44458</c:v>
                </c:pt>
                <c:pt idx="64">
                  <c:v>44459</c:v>
                </c:pt>
                <c:pt idx="65">
                  <c:v>44460</c:v>
                </c:pt>
                <c:pt idx="66">
                  <c:v>44461</c:v>
                </c:pt>
                <c:pt idx="67">
                  <c:v>44462</c:v>
                </c:pt>
                <c:pt idx="68">
                  <c:v>44463</c:v>
                </c:pt>
                <c:pt idx="69">
                  <c:v>44464</c:v>
                </c:pt>
                <c:pt idx="70">
                  <c:v>44465</c:v>
                </c:pt>
                <c:pt idx="71">
                  <c:v>44466</c:v>
                </c:pt>
                <c:pt idx="72">
                  <c:v>44467</c:v>
                </c:pt>
                <c:pt idx="73">
                  <c:v>44468</c:v>
                </c:pt>
                <c:pt idx="74">
                  <c:v>44469</c:v>
                </c:pt>
                <c:pt idx="75">
                  <c:v>44470</c:v>
                </c:pt>
                <c:pt idx="76">
                  <c:v>44471</c:v>
                </c:pt>
                <c:pt idx="77">
                  <c:v>44472</c:v>
                </c:pt>
                <c:pt idx="78">
                  <c:v>44473</c:v>
                </c:pt>
                <c:pt idx="79">
                  <c:v>44474</c:v>
                </c:pt>
                <c:pt idx="80">
                  <c:v>44475</c:v>
                </c:pt>
                <c:pt idx="81">
                  <c:v>44476</c:v>
                </c:pt>
                <c:pt idx="82">
                  <c:v>44477</c:v>
                </c:pt>
                <c:pt idx="83">
                  <c:v>44478</c:v>
                </c:pt>
                <c:pt idx="84">
                  <c:v>44479</c:v>
                </c:pt>
                <c:pt idx="85">
                  <c:v>44480</c:v>
                </c:pt>
                <c:pt idx="86">
                  <c:v>44481</c:v>
                </c:pt>
                <c:pt idx="87">
                  <c:v>44482</c:v>
                </c:pt>
                <c:pt idx="88">
                  <c:v>44483</c:v>
                </c:pt>
                <c:pt idx="89">
                  <c:v>44484</c:v>
                </c:pt>
                <c:pt idx="90">
                  <c:v>44485</c:v>
                </c:pt>
                <c:pt idx="91">
                  <c:v>44486</c:v>
                </c:pt>
                <c:pt idx="92">
                  <c:v>44487</c:v>
                </c:pt>
                <c:pt idx="93">
                  <c:v>44488</c:v>
                </c:pt>
                <c:pt idx="94">
                  <c:v>44489</c:v>
                </c:pt>
                <c:pt idx="95">
                  <c:v>44490</c:v>
                </c:pt>
                <c:pt idx="96">
                  <c:v>44491</c:v>
                </c:pt>
                <c:pt idx="97">
                  <c:v>44492</c:v>
                </c:pt>
                <c:pt idx="98">
                  <c:v>44493</c:v>
                </c:pt>
                <c:pt idx="99">
                  <c:v>44494</c:v>
                </c:pt>
                <c:pt idx="100">
                  <c:v>44495</c:v>
                </c:pt>
                <c:pt idx="101">
                  <c:v>44496</c:v>
                </c:pt>
                <c:pt idx="102">
                  <c:v>44497</c:v>
                </c:pt>
                <c:pt idx="103">
                  <c:v>44498</c:v>
                </c:pt>
                <c:pt idx="104">
                  <c:v>44499</c:v>
                </c:pt>
                <c:pt idx="105">
                  <c:v>44500</c:v>
                </c:pt>
                <c:pt idx="106">
                  <c:v>44501</c:v>
                </c:pt>
                <c:pt idx="107">
                  <c:v>44502</c:v>
                </c:pt>
                <c:pt idx="108">
                  <c:v>44503</c:v>
                </c:pt>
                <c:pt idx="109">
                  <c:v>44504</c:v>
                </c:pt>
                <c:pt idx="110">
                  <c:v>44505</c:v>
                </c:pt>
                <c:pt idx="111">
                  <c:v>44506</c:v>
                </c:pt>
                <c:pt idx="112">
                  <c:v>44507</c:v>
                </c:pt>
                <c:pt idx="113">
                  <c:v>44508</c:v>
                </c:pt>
                <c:pt idx="114">
                  <c:v>44509</c:v>
                </c:pt>
                <c:pt idx="115">
                  <c:v>44510</c:v>
                </c:pt>
                <c:pt idx="116">
                  <c:v>44511</c:v>
                </c:pt>
                <c:pt idx="117">
                  <c:v>44512</c:v>
                </c:pt>
                <c:pt idx="118">
                  <c:v>44513</c:v>
                </c:pt>
                <c:pt idx="119">
                  <c:v>44514</c:v>
                </c:pt>
                <c:pt idx="120">
                  <c:v>44515</c:v>
                </c:pt>
                <c:pt idx="121">
                  <c:v>44516</c:v>
                </c:pt>
                <c:pt idx="122">
                  <c:v>44517</c:v>
                </c:pt>
                <c:pt idx="123">
                  <c:v>44518</c:v>
                </c:pt>
                <c:pt idx="124">
                  <c:v>44519</c:v>
                </c:pt>
                <c:pt idx="125">
                  <c:v>44520</c:v>
                </c:pt>
                <c:pt idx="126">
                  <c:v>44521</c:v>
                </c:pt>
                <c:pt idx="127">
                  <c:v>44522</c:v>
                </c:pt>
                <c:pt idx="128">
                  <c:v>44523</c:v>
                </c:pt>
                <c:pt idx="129">
                  <c:v>44524</c:v>
                </c:pt>
                <c:pt idx="130">
                  <c:v>44525</c:v>
                </c:pt>
                <c:pt idx="131">
                  <c:v>44526</c:v>
                </c:pt>
                <c:pt idx="132">
                  <c:v>44527</c:v>
                </c:pt>
                <c:pt idx="133">
                  <c:v>44528</c:v>
                </c:pt>
                <c:pt idx="134">
                  <c:v>44529</c:v>
                </c:pt>
                <c:pt idx="135">
                  <c:v>44530</c:v>
                </c:pt>
                <c:pt idx="136">
                  <c:v>44531</c:v>
                </c:pt>
                <c:pt idx="137">
                  <c:v>44532</c:v>
                </c:pt>
                <c:pt idx="138">
                  <c:v>44533</c:v>
                </c:pt>
                <c:pt idx="139">
                  <c:v>44534</c:v>
                </c:pt>
                <c:pt idx="140">
                  <c:v>44535</c:v>
                </c:pt>
                <c:pt idx="141">
                  <c:v>44536</c:v>
                </c:pt>
                <c:pt idx="142">
                  <c:v>44537</c:v>
                </c:pt>
                <c:pt idx="143">
                  <c:v>44538</c:v>
                </c:pt>
                <c:pt idx="144">
                  <c:v>44539</c:v>
                </c:pt>
                <c:pt idx="145">
                  <c:v>44540</c:v>
                </c:pt>
                <c:pt idx="146">
                  <c:v>44541</c:v>
                </c:pt>
                <c:pt idx="147">
                  <c:v>44542</c:v>
                </c:pt>
                <c:pt idx="148">
                  <c:v>44543</c:v>
                </c:pt>
                <c:pt idx="149">
                  <c:v>44544</c:v>
                </c:pt>
                <c:pt idx="150">
                  <c:v>44545</c:v>
                </c:pt>
                <c:pt idx="151">
                  <c:v>44546</c:v>
                </c:pt>
                <c:pt idx="152">
                  <c:v>44547</c:v>
                </c:pt>
                <c:pt idx="153">
                  <c:v>44548</c:v>
                </c:pt>
                <c:pt idx="154">
                  <c:v>44549</c:v>
                </c:pt>
                <c:pt idx="155">
                  <c:v>44550</c:v>
                </c:pt>
                <c:pt idx="156">
                  <c:v>44551</c:v>
                </c:pt>
              </c:numCache>
            </c:numRef>
          </c:cat>
          <c:val>
            <c:numRef>
              <c:f>Sheet1!$B$141:$B$297</c:f>
              <c:numCache>
                <c:formatCode>General</c:formatCode>
                <c:ptCount val="157"/>
                <c:pt idx="0">
                  <c:v>4</c:v>
                </c:pt>
                <c:pt idx="1">
                  <c:v>8</c:v>
                </c:pt>
                <c:pt idx="2">
                  <c:v>8</c:v>
                </c:pt>
                <c:pt idx="3">
                  <c:v>10</c:v>
                </c:pt>
                <c:pt idx="4">
                  <c:v>5</c:v>
                </c:pt>
                <c:pt idx="5">
                  <c:v>10</c:v>
                </c:pt>
                <c:pt idx="6">
                  <c:v>5</c:v>
                </c:pt>
                <c:pt idx="7">
                  <c:v>1</c:v>
                </c:pt>
                <c:pt idx="8">
                  <c:v>16</c:v>
                </c:pt>
                <c:pt idx="9">
                  <c:v>8</c:v>
                </c:pt>
                <c:pt idx="10">
                  <c:v>7</c:v>
                </c:pt>
                <c:pt idx="11">
                  <c:v>13</c:v>
                </c:pt>
                <c:pt idx="12">
                  <c:v>5</c:v>
                </c:pt>
                <c:pt idx="13">
                  <c:v>3</c:v>
                </c:pt>
                <c:pt idx="14">
                  <c:v>3</c:v>
                </c:pt>
                <c:pt idx="15">
                  <c:v>12</c:v>
                </c:pt>
                <c:pt idx="16">
                  <c:v>9</c:v>
                </c:pt>
                <c:pt idx="17">
                  <c:v>8</c:v>
                </c:pt>
                <c:pt idx="18">
                  <c:v>6</c:v>
                </c:pt>
                <c:pt idx="19">
                  <c:v>11</c:v>
                </c:pt>
                <c:pt idx="20">
                  <c:v>3</c:v>
                </c:pt>
                <c:pt idx="21">
                  <c:v>3</c:v>
                </c:pt>
                <c:pt idx="22">
                  <c:v>12</c:v>
                </c:pt>
                <c:pt idx="23">
                  <c:v>8</c:v>
                </c:pt>
                <c:pt idx="24">
                  <c:v>13</c:v>
                </c:pt>
                <c:pt idx="25">
                  <c:v>7</c:v>
                </c:pt>
                <c:pt idx="26">
                  <c:v>10</c:v>
                </c:pt>
                <c:pt idx="27">
                  <c:v>4</c:v>
                </c:pt>
                <c:pt idx="28">
                  <c:v>5</c:v>
                </c:pt>
                <c:pt idx="29">
                  <c:v>12</c:v>
                </c:pt>
                <c:pt idx="30">
                  <c:v>17</c:v>
                </c:pt>
                <c:pt idx="31">
                  <c:v>13</c:v>
                </c:pt>
                <c:pt idx="32">
                  <c:v>3</c:v>
                </c:pt>
                <c:pt idx="33">
                  <c:v>9</c:v>
                </c:pt>
                <c:pt idx="34">
                  <c:v>8</c:v>
                </c:pt>
                <c:pt idx="35">
                  <c:v>5</c:v>
                </c:pt>
                <c:pt idx="36">
                  <c:v>11</c:v>
                </c:pt>
                <c:pt idx="37">
                  <c:v>18</c:v>
                </c:pt>
                <c:pt idx="38">
                  <c:v>19</c:v>
                </c:pt>
                <c:pt idx="39">
                  <c:v>10</c:v>
                </c:pt>
                <c:pt idx="40">
                  <c:v>10</c:v>
                </c:pt>
                <c:pt idx="41">
                  <c:v>7</c:v>
                </c:pt>
                <c:pt idx="42">
                  <c:v>3</c:v>
                </c:pt>
                <c:pt idx="43">
                  <c:v>12</c:v>
                </c:pt>
                <c:pt idx="44">
                  <c:v>15</c:v>
                </c:pt>
                <c:pt idx="45">
                  <c:v>26</c:v>
                </c:pt>
                <c:pt idx="46">
                  <c:v>17</c:v>
                </c:pt>
                <c:pt idx="47">
                  <c:v>31</c:v>
                </c:pt>
                <c:pt idx="48">
                  <c:v>14</c:v>
                </c:pt>
                <c:pt idx="49">
                  <c:v>10</c:v>
                </c:pt>
                <c:pt idx="50">
                  <c:v>27</c:v>
                </c:pt>
                <c:pt idx="51">
                  <c:v>36</c:v>
                </c:pt>
                <c:pt idx="52">
                  <c:v>25</c:v>
                </c:pt>
                <c:pt idx="53">
                  <c:v>23</c:v>
                </c:pt>
                <c:pt idx="54">
                  <c:v>35</c:v>
                </c:pt>
                <c:pt idx="55">
                  <c:v>12</c:v>
                </c:pt>
                <c:pt idx="56">
                  <c:v>7</c:v>
                </c:pt>
                <c:pt idx="57">
                  <c:v>42</c:v>
                </c:pt>
                <c:pt idx="58">
                  <c:v>50</c:v>
                </c:pt>
                <c:pt idx="59">
                  <c:v>30</c:v>
                </c:pt>
                <c:pt idx="60">
                  <c:v>34</c:v>
                </c:pt>
                <c:pt idx="61">
                  <c:v>49</c:v>
                </c:pt>
                <c:pt idx="62">
                  <c:v>15</c:v>
                </c:pt>
                <c:pt idx="63">
                  <c:v>18</c:v>
                </c:pt>
                <c:pt idx="64">
                  <c:v>38</c:v>
                </c:pt>
                <c:pt idx="65">
                  <c:v>44</c:v>
                </c:pt>
                <c:pt idx="66">
                  <c:v>41</c:v>
                </c:pt>
                <c:pt idx="67">
                  <c:v>25</c:v>
                </c:pt>
                <c:pt idx="68">
                  <c:v>40</c:v>
                </c:pt>
                <c:pt idx="69">
                  <c:v>30</c:v>
                </c:pt>
                <c:pt idx="70">
                  <c:v>19</c:v>
                </c:pt>
                <c:pt idx="71">
                  <c:v>57</c:v>
                </c:pt>
                <c:pt idx="72">
                  <c:v>27</c:v>
                </c:pt>
                <c:pt idx="73">
                  <c:v>52</c:v>
                </c:pt>
                <c:pt idx="74">
                  <c:v>73</c:v>
                </c:pt>
                <c:pt idx="75">
                  <c:v>84</c:v>
                </c:pt>
                <c:pt idx="76">
                  <c:v>50</c:v>
                </c:pt>
                <c:pt idx="77">
                  <c:v>30</c:v>
                </c:pt>
                <c:pt idx="78">
                  <c:v>70</c:v>
                </c:pt>
                <c:pt idx="79">
                  <c:v>111</c:v>
                </c:pt>
                <c:pt idx="80">
                  <c:v>115</c:v>
                </c:pt>
                <c:pt idx="81">
                  <c:v>99</c:v>
                </c:pt>
                <c:pt idx="82">
                  <c:v>101</c:v>
                </c:pt>
                <c:pt idx="83">
                  <c:v>36</c:v>
                </c:pt>
                <c:pt idx="84">
                  <c:v>25</c:v>
                </c:pt>
                <c:pt idx="85">
                  <c:v>109</c:v>
                </c:pt>
                <c:pt idx="86">
                  <c:v>115</c:v>
                </c:pt>
                <c:pt idx="87">
                  <c:v>132</c:v>
                </c:pt>
                <c:pt idx="88">
                  <c:v>117</c:v>
                </c:pt>
                <c:pt idx="89">
                  <c:v>185</c:v>
                </c:pt>
                <c:pt idx="90">
                  <c:v>95</c:v>
                </c:pt>
                <c:pt idx="91">
                  <c:v>57</c:v>
                </c:pt>
                <c:pt idx="92">
                  <c:v>232</c:v>
                </c:pt>
                <c:pt idx="93">
                  <c:v>297</c:v>
                </c:pt>
                <c:pt idx="94">
                  <c:v>281</c:v>
                </c:pt>
                <c:pt idx="95">
                  <c:v>292</c:v>
                </c:pt>
                <c:pt idx="96">
                  <c:v>383</c:v>
                </c:pt>
                <c:pt idx="97">
                  <c:v>212</c:v>
                </c:pt>
                <c:pt idx="98">
                  <c:v>154</c:v>
                </c:pt>
                <c:pt idx="99">
                  <c:v>430</c:v>
                </c:pt>
                <c:pt idx="100">
                  <c:v>575</c:v>
                </c:pt>
                <c:pt idx="101">
                  <c:v>501</c:v>
                </c:pt>
                <c:pt idx="102">
                  <c:v>303</c:v>
                </c:pt>
                <c:pt idx="103">
                  <c:v>623</c:v>
                </c:pt>
                <c:pt idx="104">
                  <c:v>407</c:v>
                </c:pt>
                <c:pt idx="105">
                  <c:v>287</c:v>
                </c:pt>
                <c:pt idx="106">
                  <c:v>869</c:v>
                </c:pt>
                <c:pt idx="107">
                  <c:v>913</c:v>
                </c:pt>
                <c:pt idx="108">
                  <c:v>1009</c:v>
                </c:pt>
                <c:pt idx="109">
                  <c:v>984</c:v>
                </c:pt>
                <c:pt idx="110">
                  <c:v>1038</c:v>
                </c:pt>
                <c:pt idx="111">
                  <c:v>560</c:v>
                </c:pt>
                <c:pt idx="112">
                  <c:v>323</c:v>
                </c:pt>
                <c:pt idx="113">
                  <c:v>1074</c:v>
                </c:pt>
                <c:pt idx="114">
                  <c:v>1349</c:v>
                </c:pt>
                <c:pt idx="115">
                  <c:v>1267</c:v>
                </c:pt>
                <c:pt idx="116">
                  <c:v>1094</c:v>
                </c:pt>
                <c:pt idx="117">
                  <c:v>1452</c:v>
                </c:pt>
                <c:pt idx="118">
                  <c:v>768</c:v>
                </c:pt>
                <c:pt idx="119">
                  <c:v>485</c:v>
                </c:pt>
                <c:pt idx="120">
                  <c:v>1358</c:v>
                </c:pt>
                <c:pt idx="121">
                  <c:v>1822</c:v>
                </c:pt>
                <c:pt idx="122">
                  <c:v>1064</c:v>
                </c:pt>
                <c:pt idx="123">
                  <c:v>1335</c:v>
                </c:pt>
                <c:pt idx="124">
                  <c:v>2207</c:v>
                </c:pt>
                <c:pt idx="125">
                  <c:v>1163</c:v>
                </c:pt>
                <c:pt idx="126">
                  <c:v>637</c:v>
                </c:pt>
                <c:pt idx="127">
                  <c:v>1528</c:v>
                </c:pt>
                <c:pt idx="128">
                  <c:v>2016</c:v>
                </c:pt>
                <c:pt idx="129">
                  <c:v>1621</c:v>
                </c:pt>
                <c:pt idx="130">
                  <c:v>2464</c:v>
                </c:pt>
                <c:pt idx="131">
                  <c:v>1948</c:v>
                </c:pt>
                <c:pt idx="132">
                  <c:v>1160</c:v>
                </c:pt>
                <c:pt idx="133">
                  <c:v>845</c:v>
                </c:pt>
                <c:pt idx="134">
                  <c:v>1704</c:v>
                </c:pt>
                <c:pt idx="135">
                  <c:v>1864</c:v>
                </c:pt>
                <c:pt idx="136">
                  <c:v>1919</c:v>
                </c:pt>
                <c:pt idx="137">
                  <c:v>1872</c:v>
                </c:pt>
                <c:pt idx="138">
                  <c:v>1841</c:v>
                </c:pt>
                <c:pt idx="139">
                  <c:v>1037</c:v>
                </c:pt>
                <c:pt idx="140">
                  <c:v>521</c:v>
                </c:pt>
                <c:pt idx="141">
                  <c:v>1552</c:v>
                </c:pt>
                <c:pt idx="142">
                  <c:v>1709</c:v>
                </c:pt>
                <c:pt idx="143">
                  <c:v>1500</c:v>
                </c:pt>
                <c:pt idx="144">
                  <c:v>1531</c:v>
                </c:pt>
                <c:pt idx="145">
                  <c:v>1350</c:v>
                </c:pt>
                <c:pt idx="146">
                  <c:v>770</c:v>
                </c:pt>
                <c:pt idx="147">
                  <c:v>401</c:v>
                </c:pt>
                <c:pt idx="148">
                  <c:v>1184</c:v>
                </c:pt>
                <c:pt idx="149">
                  <c:v>1447</c:v>
                </c:pt>
                <c:pt idx="150">
                  <c:v>1113</c:v>
                </c:pt>
                <c:pt idx="151">
                  <c:v>1016</c:v>
                </c:pt>
                <c:pt idx="152">
                  <c:v>903</c:v>
                </c:pt>
                <c:pt idx="153">
                  <c:v>506</c:v>
                </c:pt>
                <c:pt idx="154">
                  <c:v>297</c:v>
                </c:pt>
                <c:pt idx="155">
                  <c:v>836</c:v>
                </c:pt>
                <c:pt idx="156">
                  <c:v>1025</c:v>
                </c:pt>
              </c:numCache>
            </c:numRef>
          </c:val>
          <c:extLst>
            <c:ext xmlns:c16="http://schemas.microsoft.com/office/drawing/2014/chart" uri="{C3380CC4-5D6E-409C-BE32-E72D297353CC}">
              <c16:uniqueId val="{00000000-A5EA-4BD4-9376-87441B21E437}"/>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1"/>
        <c:majorTimeUnit val="days"/>
      </c:dateAx>
      <c:valAx>
        <c:axId val="41932182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cs-CZ"/>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691743527347279E-2"/>
          <c:y val="3.1245307675528175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244</c:v>
                </c:pt>
                <c:pt idx="1">
                  <c:v>234</c:v>
                </c:pt>
                <c:pt idx="2">
                  <c:v>247</c:v>
                </c:pt>
                <c:pt idx="3">
                  <c:v>302</c:v>
                </c:pt>
                <c:pt idx="4">
                  <c:v>302</c:v>
                </c:pt>
                <c:pt idx="5">
                  <c:v>327</c:v>
                </c:pt>
                <c:pt idx="6">
                  <c:v>316</c:v>
                </c:pt>
                <c:pt idx="7">
                  <c:v>344</c:v>
                </c:pt>
                <c:pt idx="8">
                  <c:v>333</c:v>
                </c:pt>
                <c:pt idx="9">
                  <c:v>350</c:v>
                </c:pt>
                <c:pt idx="10">
                  <c:v>425</c:v>
                </c:pt>
                <c:pt idx="11">
                  <c:v>444</c:v>
                </c:pt>
                <c:pt idx="12">
                  <c:v>470</c:v>
                </c:pt>
                <c:pt idx="13">
                  <c:v>496</c:v>
                </c:pt>
                <c:pt idx="14">
                  <c:v>527</c:v>
                </c:pt>
                <c:pt idx="15">
                  <c:v>515</c:v>
                </c:pt>
                <c:pt idx="16">
                  <c:v>543</c:v>
                </c:pt>
                <c:pt idx="17">
                  <c:v>664</c:v>
                </c:pt>
                <c:pt idx="18">
                  <c:v>733</c:v>
                </c:pt>
                <c:pt idx="19">
                  <c:v>795</c:v>
                </c:pt>
                <c:pt idx="20">
                  <c:v>851</c:v>
                </c:pt>
                <c:pt idx="21">
                  <c:v>923</c:v>
                </c:pt>
                <c:pt idx="22">
                  <c:v>930</c:v>
                </c:pt>
                <c:pt idx="23">
                  <c:v>993</c:v>
                </c:pt>
                <c:pt idx="24">
                  <c:v>1175</c:v>
                </c:pt>
                <c:pt idx="25">
                  <c:v>1294</c:v>
                </c:pt>
                <c:pt idx="26">
                  <c:v>1396</c:v>
                </c:pt>
                <c:pt idx="27">
                  <c:v>1391</c:v>
                </c:pt>
                <c:pt idx="28">
                  <c:v>1578</c:v>
                </c:pt>
                <c:pt idx="29">
                  <c:v>1597</c:v>
                </c:pt>
                <c:pt idx="30">
                  <c:v>1731</c:v>
                </c:pt>
                <c:pt idx="31">
                  <c:v>2105</c:v>
                </c:pt>
                <c:pt idx="32">
                  <c:v>2295</c:v>
                </c:pt>
                <c:pt idx="33">
                  <c:v>2495</c:v>
                </c:pt>
                <c:pt idx="34">
                  <c:v>2660</c:v>
                </c:pt>
                <c:pt idx="35">
                  <c:v>2803</c:v>
                </c:pt>
                <c:pt idx="36">
                  <c:v>2802</c:v>
                </c:pt>
                <c:pt idx="37">
                  <c:v>2952</c:v>
                </c:pt>
                <c:pt idx="38">
                  <c:v>3413</c:v>
                </c:pt>
                <c:pt idx="39">
                  <c:v>3610</c:v>
                </c:pt>
                <c:pt idx="40">
                  <c:v>3755</c:v>
                </c:pt>
                <c:pt idx="41">
                  <c:v>3885</c:v>
                </c:pt>
                <c:pt idx="42">
                  <c:v>4049</c:v>
                </c:pt>
                <c:pt idx="43">
                  <c:v>3988</c:v>
                </c:pt>
                <c:pt idx="44">
                  <c:v>4131</c:v>
                </c:pt>
                <c:pt idx="45">
                  <c:v>4789</c:v>
                </c:pt>
                <c:pt idx="46">
                  <c:v>4864</c:v>
                </c:pt>
                <c:pt idx="47">
                  <c:v>4822</c:v>
                </c:pt>
                <c:pt idx="48">
                  <c:v>5188</c:v>
                </c:pt>
                <c:pt idx="49">
                  <c:v>5317</c:v>
                </c:pt>
                <c:pt idx="50">
                  <c:v>5205</c:v>
                </c:pt>
                <c:pt idx="51">
                  <c:v>5420</c:v>
                </c:pt>
                <c:pt idx="52">
                  <c:v>6017</c:v>
                </c:pt>
                <c:pt idx="53">
                  <c:v>6128</c:v>
                </c:pt>
                <c:pt idx="54">
                  <c:v>6221</c:v>
                </c:pt>
                <c:pt idx="55">
                  <c:v>6333</c:v>
                </c:pt>
                <c:pt idx="56">
                  <c:v>6434</c:v>
                </c:pt>
                <c:pt idx="57">
                  <c:v>6215</c:v>
                </c:pt>
                <c:pt idx="58">
                  <c:v>6417</c:v>
                </c:pt>
                <c:pt idx="59">
                  <c:v>7088</c:v>
                </c:pt>
                <c:pt idx="60">
                  <c:v>7025</c:v>
                </c:pt>
                <c:pt idx="61">
                  <c:v>6973</c:v>
                </c:pt>
                <c:pt idx="62">
                  <c:v>7066</c:v>
                </c:pt>
                <c:pt idx="63">
                  <c:v>7032</c:v>
                </c:pt>
                <c:pt idx="64">
                  <c:v>6555</c:v>
                </c:pt>
                <c:pt idx="65">
                  <c:v>6663</c:v>
                </c:pt>
                <c:pt idx="66">
                  <c:v>7125</c:v>
                </c:pt>
                <c:pt idx="67">
                  <c:v>6907</c:v>
                </c:pt>
                <c:pt idx="68">
                  <c:v>6757</c:v>
                </c:pt>
                <c:pt idx="69">
                  <c:v>6587</c:v>
                </c:pt>
                <c:pt idx="70">
                  <c:v>6400</c:v>
                </c:pt>
                <c:pt idx="71">
                  <c:v>5876</c:v>
                </c:pt>
                <c:pt idx="72">
                  <c:v>5903</c:v>
                </c:pt>
                <c:pt idx="73">
                  <c:v>6396</c:v>
                </c:pt>
                <c:pt idx="74">
                  <c:v>6115</c:v>
                </c:pt>
                <c:pt idx="75">
                  <c:v>5858</c:v>
                </c:pt>
                <c:pt idx="76">
                  <c:v>5653</c:v>
                </c:pt>
                <c:pt idx="77">
                  <c:v>5335</c:v>
                </c:pt>
                <c:pt idx="78">
                  <c:v>4814</c:v>
                </c:pt>
                <c:pt idx="79">
                  <c:v>4806</c:v>
                </c:pt>
                <c:pt idx="80">
                  <c:v>5173</c:v>
                </c:pt>
                <c:pt idx="81">
                  <c:v>4926</c:v>
                </c:pt>
                <c:pt idx="82">
                  <c:v>4545</c:v>
                </c:pt>
                <c:pt idx="83">
                  <c:v>4075</c:v>
                </c:pt>
                <c:pt idx="84">
                  <c:v>3406</c:v>
                </c:pt>
                <c:pt idx="85">
                  <c:v>3256</c:v>
                </c:pt>
                <c:pt idx="86">
                  <c:v>3306</c:v>
                </c:pt>
              </c:numCache>
            </c:numRef>
          </c:val>
          <c:extLst>
            <c:ext xmlns:c16="http://schemas.microsoft.com/office/drawing/2014/chart" uri="{C3380CC4-5D6E-409C-BE32-E72D297353CC}">
              <c16:uniqueId val="{00000000-693C-4FB3-91C5-6215E86B9DDC}"/>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693C-4FB3-91C5-6215E86B9DDC}"/>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3874.8266915745999</c:v>
                </c:pt>
                <c:pt idx="43">
                  <c:v>4000.7649631137347</c:v>
                </c:pt>
                <c:pt idx="44">
                  <c:v>4126.3636197642345</c:v>
                </c:pt>
                <c:pt idx="45">
                  <c:v>4246.851958635968</c:v>
                </c:pt>
                <c:pt idx="46">
                  <c:v>4357.7449058198672</c:v>
                </c:pt>
                <c:pt idx="47">
                  <c:v>4461.1798325185819</c:v>
                </c:pt>
                <c:pt idx="48">
                  <c:v>4561.4503701634731</c:v>
                </c:pt>
                <c:pt idx="49">
                  <c:v>4660.4655418011043</c:v>
                </c:pt>
                <c:pt idx="50">
                  <c:v>4757.6593438429773</c:v>
                </c:pt>
                <c:pt idx="51">
                  <c:v>4858.1037055510296</c:v>
                </c:pt>
                <c:pt idx="52">
                  <c:v>4955.269813729863</c:v>
                </c:pt>
                <c:pt idx="53">
                  <c:v>5037.851718867676</c:v>
                </c:pt>
                <c:pt idx="54">
                  <c:v>5112.8062867582794</c:v>
                </c:pt>
                <c:pt idx="55">
                  <c:v>5184.835706396997</c:v>
                </c:pt>
                <c:pt idx="56">
                  <c:v>5255.5396750814853</c:v>
                </c:pt>
                <c:pt idx="57">
                  <c:v>5325.598673688386</c:v>
                </c:pt>
                <c:pt idx="58">
                  <c:v>5394.5302687169542</c:v>
                </c:pt>
                <c:pt idx="59">
                  <c:v>5461.5112579097113</c:v>
                </c:pt>
                <c:pt idx="60">
                  <c:v>5523.1067654692479</c:v>
                </c:pt>
                <c:pt idx="61">
                  <c:v>5579.9682808836287</c:v>
                </c:pt>
                <c:pt idx="62">
                  <c:v>5632.7848342359175</c:v>
                </c:pt>
                <c:pt idx="63">
                  <c:v>5681.9344968879623</c:v>
                </c:pt>
                <c:pt idx="64">
                  <c:v>5726.9117901050686</c:v>
                </c:pt>
                <c:pt idx="65">
                  <c:v>5768.6191703553786</c:v>
                </c:pt>
                <c:pt idx="66">
                  <c:v>5806.331035746306</c:v>
                </c:pt>
                <c:pt idx="67">
                  <c:v>5840.2229265257092</c:v>
                </c:pt>
                <c:pt idx="68">
                  <c:v>5868.9282885581742</c:v>
                </c:pt>
                <c:pt idx="69">
                  <c:v>5893.066540476214</c:v>
                </c:pt>
                <c:pt idx="70">
                  <c:v>5913.1832379434618</c:v>
                </c:pt>
                <c:pt idx="71">
                  <c:v>5927.2707698645772</c:v>
                </c:pt>
                <c:pt idx="72">
                  <c:v>5936.7406334869083</c:v>
                </c:pt>
                <c:pt idx="73">
                  <c:v>5941.7682210099592</c:v>
                </c:pt>
                <c:pt idx="74">
                  <c:v>5941.4840299436855</c:v>
                </c:pt>
                <c:pt idx="75">
                  <c:v>5936.195389534023</c:v>
                </c:pt>
                <c:pt idx="76">
                  <c:v>5926.0593653684864</c:v>
                </c:pt>
                <c:pt idx="77">
                  <c:v>5911.4925302807633</c:v>
                </c:pt>
                <c:pt idx="78">
                  <c:v>5891.1145246271162</c:v>
                </c:pt>
                <c:pt idx="79">
                  <c:v>5866.1678405466055</c:v>
                </c:pt>
                <c:pt idx="80">
                  <c:v>5836.6640093508631</c:v>
                </c:pt>
                <c:pt idx="81">
                  <c:v>5801.8842766630705</c:v>
                </c:pt>
                <c:pt idx="82">
                  <c:v>5762.00730520045</c:v>
                </c:pt>
                <c:pt idx="83">
                  <c:v>5718.2310743467187</c:v>
                </c:pt>
                <c:pt idx="84">
                  <c:v>5670.1237920150888</c:v>
                </c:pt>
                <c:pt idx="85">
                  <c:v>5616.8306867096653</c:v>
                </c:pt>
                <c:pt idx="86">
                  <c:v>5560.4493417457879</c:v>
                </c:pt>
                <c:pt idx="87">
                  <c:v>5500.5212514270288</c:v>
                </c:pt>
                <c:pt idx="88">
                  <c:v>5434.9249047022331</c:v>
                </c:pt>
                <c:pt idx="89">
                  <c:v>5366.4713539503819</c:v>
                </c:pt>
                <c:pt idx="90">
                  <c:v>5295.1997817793708</c:v>
                </c:pt>
                <c:pt idx="91">
                  <c:v>5220.5883678919145</c:v>
                </c:pt>
                <c:pt idx="92">
                  <c:v>5141.6385683384133</c:v>
                </c:pt>
                <c:pt idx="93">
                  <c:v>5059.7844572957165</c:v>
                </c:pt>
                <c:pt idx="94">
                  <c:v>4975.64411772108</c:v>
                </c:pt>
                <c:pt idx="95">
                  <c:v>4888.9152696888123</c:v>
                </c:pt>
              </c:numCache>
            </c:numRef>
          </c:val>
          <c:smooth val="0"/>
          <c:extLst>
            <c:ext xmlns:c16="http://schemas.microsoft.com/office/drawing/2014/chart" uri="{C3380CC4-5D6E-409C-BE32-E72D297353CC}">
              <c16:uniqueId val="{00000002-693C-4FB3-91C5-6215E86B9DDC}"/>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3883.7724957326495</c:v>
                </c:pt>
                <c:pt idx="43">
                  <c:v>4021.8651703173623</c:v>
                </c:pt>
                <c:pt idx="44">
                  <c:v>4163.0571947267426</c:v>
                </c:pt>
                <c:pt idx="45">
                  <c:v>4302.6712117083398</c:v>
                </c:pt>
                <c:pt idx="46">
                  <c:v>4436.3983667800385</c:v>
                </c:pt>
                <c:pt idx="47">
                  <c:v>4566.3664649222883</c:v>
                </c:pt>
                <c:pt idx="48">
                  <c:v>4696.922545893809</c:v>
                </c:pt>
                <c:pt idx="49">
                  <c:v>4829.8886898653509</c:v>
                </c:pt>
                <c:pt idx="50">
                  <c:v>4964.6851723175723</c:v>
                </c:pt>
                <c:pt idx="51">
                  <c:v>5106.269164907766</c:v>
                </c:pt>
                <c:pt idx="52">
                  <c:v>5248.0490617810729</c:v>
                </c:pt>
                <c:pt idx="53">
                  <c:v>5378.580127219092</c:v>
                </c:pt>
                <c:pt idx="54">
                  <c:v>5504.7041800399766</c:v>
                </c:pt>
                <c:pt idx="55">
                  <c:v>5630.9313152074355</c:v>
                </c:pt>
                <c:pt idx="56">
                  <c:v>5758.5854770970145</c:v>
                </c:pt>
                <c:pt idx="57">
                  <c:v>5887.8355049395122</c:v>
                </c:pt>
                <c:pt idx="58">
                  <c:v>6018.0363754738419</c:v>
                </c:pt>
                <c:pt idx="59">
                  <c:v>6148.1174291578554</c:v>
                </c:pt>
                <c:pt idx="60">
                  <c:v>6274.4753812746858</c:v>
                </c:pt>
                <c:pt idx="61">
                  <c:v>6397.4250467610236</c:v>
                </c:pt>
                <c:pt idx="62">
                  <c:v>6517.4063018172383</c:v>
                </c:pt>
                <c:pt idx="63">
                  <c:v>6634.4979616464334</c:v>
                </c:pt>
                <c:pt idx="64">
                  <c:v>6747.8381258254458</c:v>
                </c:pt>
                <c:pt idx="65">
                  <c:v>6858.0152150647637</c:v>
                </c:pt>
                <c:pt idx="66">
                  <c:v>6964.0475227458246</c:v>
                </c:pt>
                <c:pt idx="67">
                  <c:v>7065.8127870876542</c:v>
                </c:pt>
                <c:pt idx="68">
                  <c:v>7161.6785672445512</c:v>
                </c:pt>
                <c:pt idx="69">
                  <c:v>7251.9875202190015</c:v>
                </c:pt>
                <c:pt idx="70">
                  <c:v>7336.9974130292958</c:v>
                </c:pt>
                <c:pt idx="71">
                  <c:v>7414.4261695508631</c:v>
                </c:pt>
                <c:pt idx="72">
                  <c:v>7485.4020724328948</c:v>
                </c:pt>
                <c:pt idx="73">
                  <c:v>7549.8552017784723</c:v>
                </c:pt>
                <c:pt idx="74">
                  <c:v>7606.6812658407453</c:v>
                </c:pt>
                <c:pt idx="75">
                  <c:v>7655.9601133157576</c:v>
                </c:pt>
                <c:pt idx="76">
                  <c:v>7697.6356567036792</c:v>
                </c:pt>
                <c:pt idx="77">
                  <c:v>7731.9422521323922</c:v>
                </c:pt>
                <c:pt idx="78">
                  <c:v>7757.3172289474423</c:v>
                </c:pt>
                <c:pt idx="79">
                  <c:v>7774.8523594207982</c:v>
                </c:pt>
                <c:pt idx="80">
                  <c:v>7784.4222024789424</c:v>
                </c:pt>
                <c:pt idx="81">
                  <c:v>7785.1904771195786</c:v>
                </c:pt>
                <c:pt idx="82">
                  <c:v>7777.2303691396628</c:v>
                </c:pt>
                <c:pt idx="83">
                  <c:v>7761.6674912508715</c:v>
                </c:pt>
                <c:pt idx="84">
                  <c:v>7738.0130518590777</c:v>
                </c:pt>
                <c:pt idx="85">
                  <c:v>7705.3756244397246</c:v>
                </c:pt>
                <c:pt idx="86">
                  <c:v>7665.8362387460747</c:v>
                </c:pt>
                <c:pt idx="87">
                  <c:v>7618.9391382218619</c:v>
                </c:pt>
                <c:pt idx="88">
                  <c:v>7562.5763308956848</c:v>
                </c:pt>
                <c:pt idx="89">
                  <c:v>7499.6033427889088</c:v>
                </c:pt>
                <c:pt idx="90">
                  <c:v>7430.1080738058808</c:v>
                </c:pt>
                <c:pt idx="91">
                  <c:v>7353.6387736028464</c:v>
                </c:pt>
                <c:pt idx="92">
                  <c:v>7269.1761846328609</c:v>
                </c:pt>
                <c:pt idx="93">
                  <c:v>7178.3251169050318</c:v>
                </c:pt>
                <c:pt idx="94">
                  <c:v>7081.8141108436257</c:v>
                </c:pt>
                <c:pt idx="95">
                  <c:v>6979.463472041527</c:v>
                </c:pt>
              </c:numCache>
            </c:numRef>
          </c:val>
          <c:smooth val="0"/>
          <c:extLst>
            <c:ext xmlns:c16="http://schemas.microsoft.com/office/drawing/2014/chart" uri="{C3380CC4-5D6E-409C-BE32-E72D297353CC}">
              <c16:uniqueId val="{00000003-693C-4FB3-91C5-6215E86B9DDC}"/>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3892.7752822914986</c:v>
                </c:pt>
                <c:pt idx="43">
                  <c:v>4043.1687347470602</c:v>
                </c:pt>
                <c:pt idx="44">
                  <c:v>4200.2470000448029</c:v>
                </c:pt>
                <c:pt idx="45">
                  <c:v>4359.4916428298739</c:v>
                </c:pt>
                <c:pt idx="46">
                  <c:v>4516.8426085193496</c:v>
                </c:pt>
                <c:pt idx="47">
                  <c:v>4674.4950136332509</c:v>
                </c:pt>
                <c:pt idx="48">
                  <c:v>4836.9296358195497</c:v>
                </c:pt>
                <c:pt idx="49">
                  <c:v>5005.9629248299843</c:v>
                </c:pt>
                <c:pt idx="50">
                  <c:v>5181.0823628909493</c:v>
                </c:pt>
                <c:pt idx="51">
                  <c:v>5367.2087561997487</c:v>
                </c:pt>
                <c:pt idx="52">
                  <c:v>5557.7622339853697</c:v>
                </c:pt>
                <c:pt idx="53">
                  <c:v>5741.2274125797849</c:v>
                </c:pt>
                <c:pt idx="54">
                  <c:v>5924.3916908957708</c:v>
                </c:pt>
                <c:pt idx="55">
                  <c:v>6111.6242528419061</c:v>
                </c:pt>
                <c:pt idx="56">
                  <c:v>6304.0139361848651</c:v>
                </c:pt>
                <c:pt idx="57">
                  <c:v>6501.2446122618312</c:v>
                </c:pt>
                <c:pt idx="58">
                  <c:v>6702.522830665479</c:v>
                </c:pt>
                <c:pt idx="59">
                  <c:v>6906.5301863113764</c:v>
                </c:pt>
                <c:pt idx="60">
                  <c:v>7109.4791726113908</c:v>
                </c:pt>
                <c:pt idx="61">
                  <c:v>7311.3153925703828</c:v>
                </c:pt>
                <c:pt idx="62">
                  <c:v>7512.1806540221532</c:v>
                </c:pt>
                <c:pt idx="63">
                  <c:v>7711.7892970140019</c:v>
                </c:pt>
                <c:pt idx="64">
                  <c:v>7908.8414601342902</c:v>
                </c:pt>
                <c:pt idx="65">
                  <c:v>8103.5161819879368</c:v>
                </c:pt>
                <c:pt idx="66">
                  <c:v>8294.4674585003886</c:v>
                </c:pt>
                <c:pt idx="67">
                  <c:v>8481.1526524327164</c:v>
                </c:pt>
                <c:pt idx="68">
                  <c:v>8661.5385703678348</c:v>
                </c:pt>
                <c:pt idx="69">
                  <c:v>8835.5454934832705</c:v>
                </c:pt>
                <c:pt idx="70">
                  <c:v>9002.9890621874674</c:v>
                </c:pt>
                <c:pt idx="71">
                  <c:v>9161.1516483523137</c:v>
                </c:pt>
                <c:pt idx="72">
                  <c:v>9310.7132913458518</c:v>
                </c:pt>
                <c:pt idx="73">
                  <c:v>9451.1919071894808</c:v>
                </c:pt>
                <c:pt idx="74">
                  <c:v>9581.0814534073252</c:v>
                </c:pt>
                <c:pt idx="75">
                  <c:v>9700.0694388859683</c:v>
                </c:pt>
                <c:pt idx="76">
                  <c:v>9807.726184872894</c:v>
                </c:pt>
                <c:pt idx="77">
                  <c:v>9903.9501133799276</c:v>
                </c:pt>
                <c:pt idx="78">
                  <c:v>9986.8513187595854</c:v>
                </c:pt>
                <c:pt idx="79">
                  <c:v>10057.236771960852</c:v>
                </c:pt>
                <c:pt idx="80">
                  <c:v>10114.72246934113</c:v>
                </c:pt>
                <c:pt idx="81">
                  <c:v>10158.247083233073</c:v>
                </c:pt>
                <c:pt idx="82">
                  <c:v>10187.686256884106</c:v>
                </c:pt>
                <c:pt idx="83">
                  <c:v>10204.017835551913</c:v>
                </c:pt>
                <c:pt idx="84">
                  <c:v>10206.638131698186</c:v>
                </c:pt>
                <c:pt idx="85">
                  <c:v>10194.579248587941</c:v>
                </c:pt>
                <c:pt idx="86">
                  <c:v>10169.884223290057</c:v>
                </c:pt>
                <c:pt idx="87">
                  <c:v>10132.096963673484</c:v>
                </c:pt>
                <c:pt idx="88">
                  <c:v>10079.137980044041</c:v>
                </c:pt>
                <c:pt idx="89">
                  <c:v>10013.939924979448</c:v>
                </c:pt>
                <c:pt idx="90">
                  <c:v>9936.6889466502089</c:v>
                </c:pt>
                <c:pt idx="91">
                  <c:v>9847.0688784891026</c:v>
                </c:pt>
                <c:pt idx="92">
                  <c:v>9744.1194406107588</c:v>
                </c:pt>
                <c:pt idx="93">
                  <c:v>9629.7096549604648</c:v>
                </c:pt>
                <c:pt idx="94">
                  <c:v>9504.7837788229681</c:v>
                </c:pt>
                <c:pt idx="95">
                  <c:v>9369.4003694873336</c:v>
                </c:pt>
              </c:numCache>
            </c:numRef>
          </c:val>
          <c:smooth val="0"/>
          <c:extLst>
            <c:ext xmlns:c16="http://schemas.microsoft.com/office/drawing/2014/chart" uri="{C3380CC4-5D6E-409C-BE32-E72D297353CC}">
              <c16:uniqueId val="{00000004-693C-4FB3-91C5-6215E86B9DDC}"/>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693C-4FB3-91C5-6215E86B9DDC}"/>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w="9525">
            <a:solidFill>
              <a:srgbClr val="000000"/>
            </a:solidFill>
          </a:ln>
          <a:effectLst/>
        </c:spPr>
        <c:txPr>
          <a:bodyPr rot="-60000000" vert="horz"/>
          <a:lstStyle/>
          <a:p>
            <a:pPr>
              <a:defRPr sz="1200"/>
            </a:pPr>
            <a:endParaRPr lang="cs-CZ"/>
          </a:p>
        </c:txPr>
        <c:crossAx val="29800314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cs-CZ"/>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725639816114128E-2"/>
          <c:y val="3.7414076378474583E-2"/>
          <c:w val="0.93069323165507978"/>
          <c:h val="0.81046931681231571"/>
        </c:manualLayout>
      </c:layout>
      <c:lineChart>
        <c:grouping val="standard"/>
        <c:varyColors val="0"/>
        <c:ser>
          <c:idx val="0"/>
          <c:order val="0"/>
          <c:spPr>
            <a:ln w="19050" cap="rnd">
              <a:solidFill>
                <a:schemeClr val="tx1"/>
              </a:solidFill>
              <a:round/>
            </a:ln>
            <a:effectLst/>
          </c:spPr>
          <c:marker>
            <c:symbol val="circle"/>
            <c:size val="5"/>
            <c:spPr>
              <a:solidFill>
                <a:schemeClr val="tx1"/>
              </a:solidFill>
              <a:ln w="19050">
                <a:solidFill>
                  <a:schemeClr val="tx1"/>
                </a:solidFill>
              </a:ln>
              <a:effectLst/>
            </c:spPr>
          </c:marker>
          <c:trendline>
            <c:spPr>
              <a:ln w="25400" cap="rnd">
                <a:solidFill>
                  <a:srgbClr val="FF0000"/>
                </a:solidFill>
                <a:prstDash val="solid"/>
              </a:ln>
              <a:effectLst/>
            </c:spPr>
            <c:trendlineType val="movingAvg"/>
            <c:period val="7"/>
            <c:dispRSqr val="0"/>
            <c:dispEq val="0"/>
          </c:trendline>
          <c:cat>
            <c:numRef>
              <c:f>Sheet1!$A$61:$A$477</c:f>
              <c:numCache>
                <c:formatCode>m/d/yyyy</c:formatCode>
                <c:ptCount val="417"/>
                <c:pt idx="0">
                  <c:v>44135</c:v>
                </c:pt>
                <c:pt idx="1">
                  <c:v>44136</c:v>
                </c:pt>
                <c:pt idx="2">
                  <c:v>44137</c:v>
                </c:pt>
                <c:pt idx="3">
                  <c:v>44138</c:v>
                </c:pt>
                <c:pt idx="4">
                  <c:v>44139</c:v>
                </c:pt>
                <c:pt idx="5">
                  <c:v>44140</c:v>
                </c:pt>
                <c:pt idx="6">
                  <c:v>44141</c:v>
                </c:pt>
                <c:pt idx="7">
                  <c:v>44142</c:v>
                </c:pt>
                <c:pt idx="8">
                  <c:v>44143</c:v>
                </c:pt>
                <c:pt idx="9">
                  <c:v>44144</c:v>
                </c:pt>
                <c:pt idx="10">
                  <c:v>44145</c:v>
                </c:pt>
                <c:pt idx="11">
                  <c:v>44146</c:v>
                </c:pt>
                <c:pt idx="12">
                  <c:v>44147</c:v>
                </c:pt>
                <c:pt idx="13">
                  <c:v>44148</c:v>
                </c:pt>
                <c:pt idx="14">
                  <c:v>44149</c:v>
                </c:pt>
                <c:pt idx="15">
                  <c:v>44150</c:v>
                </c:pt>
                <c:pt idx="16">
                  <c:v>44151</c:v>
                </c:pt>
                <c:pt idx="17">
                  <c:v>44152</c:v>
                </c:pt>
                <c:pt idx="18">
                  <c:v>44153</c:v>
                </c:pt>
                <c:pt idx="19">
                  <c:v>44154</c:v>
                </c:pt>
                <c:pt idx="20">
                  <c:v>44155</c:v>
                </c:pt>
                <c:pt idx="21">
                  <c:v>44156</c:v>
                </c:pt>
                <c:pt idx="22">
                  <c:v>44157</c:v>
                </c:pt>
                <c:pt idx="23">
                  <c:v>44158</c:v>
                </c:pt>
                <c:pt idx="24">
                  <c:v>44159</c:v>
                </c:pt>
                <c:pt idx="25">
                  <c:v>44160</c:v>
                </c:pt>
                <c:pt idx="26">
                  <c:v>44161</c:v>
                </c:pt>
                <c:pt idx="27">
                  <c:v>44162</c:v>
                </c:pt>
                <c:pt idx="28">
                  <c:v>44163</c:v>
                </c:pt>
                <c:pt idx="29">
                  <c:v>44164</c:v>
                </c:pt>
                <c:pt idx="30">
                  <c:v>44165</c:v>
                </c:pt>
                <c:pt idx="31">
                  <c:v>44166</c:v>
                </c:pt>
                <c:pt idx="32">
                  <c:v>44167</c:v>
                </c:pt>
                <c:pt idx="33">
                  <c:v>44168</c:v>
                </c:pt>
                <c:pt idx="34">
                  <c:v>44169</c:v>
                </c:pt>
                <c:pt idx="35">
                  <c:v>44170</c:v>
                </c:pt>
                <c:pt idx="36">
                  <c:v>44171</c:v>
                </c:pt>
                <c:pt idx="37">
                  <c:v>44172</c:v>
                </c:pt>
                <c:pt idx="38">
                  <c:v>44173</c:v>
                </c:pt>
                <c:pt idx="39">
                  <c:v>44174</c:v>
                </c:pt>
                <c:pt idx="40">
                  <c:v>44175</c:v>
                </c:pt>
                <c:pt idx="41">
                  <c:v>44176</c:v>
                </c:pt>
                <c:pt idx="42">
                  <c:v>44177</c:v>
                </c:pt>
                <c:pt idx="43">
                  <c:v>44178</c:v>
                </c:pt>
                <c:pt idx="44">
                  <c:v>44179</c:v>
                </c:pt>
                <c:pt idx="45">
                  <c:v>44180</c:v>
                </c:pt>
                <c:pt idx="46">
                  <c:v>44181</c:v>
                </c:pt>
                <c:pt idx="47">
                  <c:v>44182</c:v>
                </c:pt>
                <c:pt idx="48">
                  <c:v>44183</c:v>
                </c:pt>
                <c:pt idx="49">
                  <c:v>44184</c:v>
                </c:pt>
                <c:pt idx="50">
                  <c:v>44185</c:v>
                </c:pt>
                <c:pt idx="51">
                  <c:v>44186</c:v>
                </c:pt>
                <c:pt idx="52">
                  <c:v>44187</c:v>
                </c:pt>
                <c:pt idx="53">
                  <c:v>44188</c:v>
                </c:pt>
                <c:pt idx="54">
                  <c:v>44189</c:v>
                </c:pt>
                <c:pt idx="55">
                  <c:v>44190</c:v>
                </c:pt>
                <c:pt idx="56">
                  <c:v>44191</c:v>
                </c:pt>
                <c:pt idx="57">
                  <c:v>44192</c:v>
                </c:pt>
                <c:pt idx="58">
                  <c:v>44193</c:v>
                </c:pt>
                <c:pt idx="59">
                  <c:v>44194</c:v>
                </c:pt>
                <c:pt idx="60">
                  <c:v>44195</c:v>
                </c:pt>
                <c:pt idx="61">
                  <c:v>44196</c:v>
                </c:pt>
                <c:pt idx="62">
                  <c:v>44197</c:v>
                </c:pt>
                <c:pt idx="63">
                  <c:v>44198</c:v>
                </c:pt>
                <c:pt idx="64">
                  <c:v>44199</c:v>
                </c:pt>
                <c:pt idx="65">
                  <c:v>44200</c:v>
                </c:pt>
                <c:pt idx="66">
                  <c:v>44201</c:v>
                </c:pt>
                <c:pt idx="67">
                  <c:v>44202</c:v>
                </c:pt>
                <c:pt idx="68">
                  <c:v>44203</c:v>
                </c:pt>
                <c:pt idx="69">
                  <c:v>44204</c:v>
                </c:pt>
                <c:pt idx="70">
                  <c:v>44205</c:v>
                </c:pt>
                <c:pt idx="71">
                  <c:v>44206</c:v>
                </c:pt>
                <c:pt idx="72">
                  <c:v>44207</c:v>
                </c:pt>
                <c:pt idx="73">
                  <c:v>44208</c:v>
                </c:pt>
                <c:pt idx="74">
                  <c:v>44209</c:v>
                </c:pt>
                <c:pt idx="75">
                  <c:v>44210</c:v>
                </c:pt>
                <c:pt idx="76">
                  <c:v>44211</c:v>
                </c:pt>
                <c:pt idx="77">
                  <c:v>44212</c:v>
                </c:pt>
                <c:pt idx="78">
                  <c:v>44213</c:v>
                </c:pt>
                <c:pt idx="79">
                  <c:v>44214</c:v>
                </c:pt>
                <c:pt idx="80">
                  <c:v>44215</c:v>
                </c:pt>
                <c:pt idx="81">
                  <c:v>44216</c:v>
                </c:pt>
                <c:pt idx="82">
                  <c:v>44217</c:v>
                </c:pt>
                <c:pt idx="83">
                  <c:v>44218</c:v>
                </c:pt>
                <c:pt idx="84">
                  <c:v>44219</c:v>
                </c:pt>
                <c:pt idx="85">
                  <c:v>44220</c:v>
                </c:pt>
                <c:pt idx="86">
                  <c:v>44221</c:v>
                </c:pt>
                <c:pt idx="87">
                  <c:v>44222</c:v>
                </c:pt>
                <c:pt idx="88">
                  <c:v>44223</c:v>
                </c:pt>
                <c:pt idx="89">
                  <c:v>44224</c:v>
                </c:pt>
                <c:pt idx="90">
                  <c:v>44225</c:v>
                </c:pt>
                <c:pt idx="91">
                  <c:v>44226</c:v>
                </c:pt>
                <c:pt idx="92">
                  <c:v>44227</c:v>
                </c:pt>
                <c:pt idx="93">
                  <c:v>44228</c:v>
                </c:pt>
                <c:pt idx="94">
                  <c:v>44229</c:v>
                </c:pt>
                <c:pt idx="95">
                  <c:v>44230</c:v>
                </c:pt>
                <c:pt idx="96">
                  <c:v>44231</c:v>
                </c:pt>
                <c:pt idx="97">
                  <c:v>44232</c:v>
                </c:pt>
                <c:pt idx="98">
                  <c:v>44233</c:v>
                </c:pt>
                <c:pt idx="99">
                  <c:v>44234</c:v>
                </c:pt>
                <c:pt idx="100">
                  <c:v>44235</c:v>
                </c:pt>
                <c:pt idx="101">
                  <c:v>44236</c:v>
                </c:pt>
                <c:pt idx="102">
                  <c:v>44237</c:v>
                </c:pt>
                <c:pt idx="103">
                  <c:v>44238</c:v>
                </c:pt>
                <c:pt idx="104">
                  <c:v>44239</c:v>
                </c:pt>
                <c:pt idx="105">
                  <c:v>44240</c:v>
                </c:pt>
                <c:pt idx="106">
                  <c:v>44241</c:v>
                </c:pt>
                <c:pt idx="107">
                  <c:v>44242</c:v>
                </c:pt>
                <c:pt idx="108">
                  <c:v>44243</c:v>
                </c:pt>
                <c:pt idx="109">
                  <c:v>44244</c:v>
                </c:pt>
                <c:pt idx="110">
                  <c:v>44245</c:v>
                </c:pt>
                <c:pt idx="111">
                  <c:v>44246</c:v>
                </c:pt>
                <c:pt idx="112">
                  <c:v>44247</c:v>
                </c:pt>
                <c:pt idx="113">
                  <c:v>44248</c:v>
                </c:pt>
                <c:pt idx="114">
                  <c:v>44249</c:v>
                </c:pt>
                <c:pt idx="115">
                  <c:v>44250</c:v>
                </c:pt>
                <c:pt idx="116">
                  <c:v>44251</c:v>
                </c:pt>
                <c:pt idx="117">
                  <c:v>44252</c:v>
                </c:pt>
                <c:pt idx="118">
                  <c:v>44253</c:v>
                </c:pt>
                <c:pt idx="119">
                  <c:v>44254</c:v>
                </c:pt>
                <c:pt idx="120">
                  <c:v>44255</c:v>
                </c:pt>
                <c:pt idx="121">
                  <c:v>44256</c:v>
                </c:pt>
                <c:pt idx="122">
                  <c:v>44257</c:v>
                </c:pt>
                <c:pt idx="123">
                  <c:v>44258</c:v>
                </c:pt>
                <c:pt idx="124">
                  <c:v>44259</c:v>
                </c:pt>
                <c:pt idx="125">
                  <c:v>44260</c:v>
                </c:pt>
                <c:pt idx="126">
                  <c:v>44261</c:v>
                </c:pt>
                <c:pt idx="127">
                  <c:v>44262</c:v>
                </c:pt>
                <c:pt idx="128">
                  <c:v>44263</c:v>
                </c:pt>
                <c:pt idx="129">
                  <c:v>44264</c:v>
                </c:pt>
                <c:pt idx="130">
                  <c:v>44265</c:v>
                </c:pt>
                <c:pt idx="131">
                  <c:v>44266</c:v>
                </c:pt>
                <c:pt idx="132">
                  <c:v>44267</c:v>
                </c:pt>
                <c:pt idx="133">
                  <c:v>44268</c:v>
                </c:pt>
                <c:pt idx="134">
                  <c:v>44269</c:v>
                </c:pt>
                <c:pt idx="135">
                  <c:v>44270</c:v>
                </c:pt>
                <c:pt idx="136">
                  <c:v>44271</c:v>
                </c:pt>
                <c:pt idx="137">
                  <c:v>44272</c:v>
                </c:pt>
                <c:pt idx="138">
                  <c:v>44273</c:v>
                </c:pt>
                <c:pt idx="139">
                  <c:v>44274</c:v>
                </c:pt>
                <c:pt idx="140">
                  <c:v>44275</c:v>
                </c:pt>
                <c:pt idx="141">
                  <c:v>44276</c:v>
                </c:pt>
                <c:pt idx="142">
                  <c:v>44277</c:v>
                </c:pt>
                <c:pt idx="143">
                  <c:v>44278</c:v>
                </c:pt>
                <c:pt idx="144">
                  <c:v>44279</c:v>
                </c:pt>
                <c:pt idx="145">
                  <c:v>44280</c:v>
                </c:pt>
                <c:pt idx="146">
                  <c:v>44281</c:v>
                </c:pt>
                <c:pt idx="147">
                  <c:v>44282</c:v>
                </c:pt>
                <c:pt idx="148">
                  <c:v>44283</c:v>
                </c:pt>
                <c:pt idx="149">
                  <c:v>44284</c:v>
                </c:pt>
                <c:pt idx="150">
                  <c:v>44285</c:v>
                </c:pt>
                <c:pt idx="151">
                  <c:v>44286</c:v>
                </c:pt>
                <c:pt idx="152">
                  <c:v>44287</c:v>
                </c:pt>
                <c:pt idx="153">
                  <c:v>44288</c:v>
                </c:pt>
                <c:pt idx="154">
                  <c:v>44289</c:v>
                </c:pt>
                <c:pt idx="155">
                  <c:v>44290</c:v>
                </c:pt>
                <c:pt idx="156">
                  <c:v>44291</c:v>
                </c:pt>
                <c:pt idx="157">
                  <c:v>44292</c:v>
                </c:pt>
                <c:pt idx="158">
                  <c:v>44293</c:v>
                </c:pt>
                <c:pt idx="159">
                  <c:v>44294</c:v>
                </c:pt>
                <c:pt idx="160">
                  <c:v>44295</c:v>
                </c:pt>
                <c:pt idx="161">
                  <c:v>44296</c:v>
                </c:pt>
                <c:pt idx="162">
                  <c:v>44297</c:v>
                </c:pt>
                <c:pt idx="163">
                  <c:v>44298</c:v>
                </c:pt>
                <c:pt idx="164">
                  <c:v>44299</c:v>
                </c:pt>
                <c:pt idx="165">
                  <c:v>44300</c:v>
                </c:pt>
                <c:pt idx="166">
                  <c:v>44301</c:v>
                </c:pt>
                <c:pt idx="167">
                  <c:v>44302</c:v>
                </c:pt>
                <c:pt idx="168">
                  <c:v>44303</c:v>
                </c:pt>
                <c:pt idx="169">
                  <c:v>44304</c:v>
                </c:pt>
                <c:pt idx="170">
                  <c:v>44305</c:v>
                </c:pt>
                <c:pt idx="171">
                  <c:v>44306</c:v>
                </c:pt>
                <c:pt idx="172">
                  <c:v>44307</c:v>
                </c:pt>
                <c:pt idx="173">
                  <c:v>44308</c:v>
                </c:pt>
                <c:pt idx="174">
                  <c:v>44309</c:v>
                </c:pt>
                <c:pt idx="175">
                  <c:v>44310</c:v>
                </c:pt>
                <c:pt idx="176">
                  <c:v>44311</c:v>
                </c:pt>
                <c:pt idx="177">
                  <c:v>44312</c:v>
                </c:pt>
                <c:pt idx="178">
                  <c:v>44313</c:v>
                </c:pt>
                <c:pt idx="179">
                  <c:v>44314</c:v>
                </c:pt>
                <c:pt idx="180">
                  <c:v>44315</c:v>
                </c:pt>
                <c:pt idx="181">
                  <c:v>44316</c:v>
                </c:pt>
                <c:pt idx="182">
                  <c:v>44317</c:v>
                </c:pt>
                <c:pt idx="183">
                  <c:v>44318</c:v>
                </c:pt>
                <c:pt idx="184">
                  <c:v>44319</c:v>
                </c:pt>
                <c:pt idx="185">
                  <c:v>44320</c:v>
                </c:pt>
                <c:pt idx="186">
                  <c:v>44321</c:v>
                </c:pt>
                <c:pt idx="187">
                  <c:v>44322</c:v>
                </c:pt>
                <c:pt idx="188">
                  <c:v>44323</c:v>
                </c:pt>
                <c:pt idx="189">
                  <c:v>44324</c:v>
                </c:pt>
                <c:pt idx="190">
                  <c:v>44325</c:v>
                </c:pt>
                <c:pt idx="191">
                  <c:v>44326</c:v>
                </c:pt>
                <c:pt idx="192">
                  <c:v>44327</c:v>
                </c:pt>
                <c:pt idx="193">
                  <c:v>44328</c:v>
                </c:pt>
                <c:pt idx="194">
                  <c:v>44329</c:v>
                </c:pt>
                <c:pt idx="195">
                  <c:v>44330</c:v>
                </c:pt>
                <c:pt idx="196">
                  <c:v>44331</c:v>
                </c:pt>
                <c:pt idx="197">
                  <c:v>44332</c:v>
                </c:pt>
                <c:pt idx="198">
                  <c:v>44333</c:v>
                </c:pt>
                <c:pt idx="199">
                  <c:v>44334</c:v>
                </c:pt>
                <c:pt idx="200">
                  <c:v>44335</c:v>
                </c:pt>
                <c:pt idx="201">
                  <c:v>44336</c:v>
                </c:pt>
                <c:pt idx="202">
                  <c:v>44337</c:v>
                </c:pt>
                <c:pt idx="203">
                  <c:v>44338</c:v>
                </c:pt>
                <c:pt idx="204">
                  <c:v>44339</c:v>
                </c:pt>
                <c:pt idx="205">
                  <c:v>44340</c:v>
                </c:pt>
                <c:pt idx="206">
                  <c:v>44341</c:v>
                </c:pt>
                <c:pt idx="207">
                  <c:v>44342</c:v>
                </c:pt>
                <c:pt idx="208">
                  <c:v>44343</c:v>
                </c:pt>
                <c:pt idx="209">
                  <c:v>44344</c:v>
                </c:pt>
                <c:pt idx="210">
                  <c:v>44345</c:v>
                </c:pt>
                <c:pt idx="211">
                  <c:v>44346</c:v>
                </c:pt>
                <c:pt idx="212">
                  <c:v>44347</c:v>
                </c:pt>
                <c:pt idx="213">
                  <c:v>44348</c:v>
                </c:pt>
                <c:pt idx="214">
                  <c:v>44349</c:v>
                </c:pt>
                <c:pt idx="215">
                  <c:v>44350</c:v>
                </c:pt>
                <c:pt idx="216">
                  <c:v>44351</c:v>
                </c:pt>
                <c:pt idx="217">
                  <c:v>44352</c:v>
                </c:pt>
                <c:pt idx="218">
                  <c:v>44353</c:v>
                </c:pt>
                <c:pt idx="219">
                  <c:v>44354</c:v>
                </c:pt>
                <c:pt idx="220">
                  <c:v>44355</c:v>
                </c:pt>
                <c:pt idx="221">
                  <c:v>44356</c:v>
                </c:pt>
                <c:pt idx="222">
                  <c:v>44357</c:v>
                </c:pt>
                <c:pt idx="223">
                  <c:v>44358</c:v>
                </c:pt>
                <c:pt idx="224">
                  <c:v>44359</c:v>
                </c:pt>
                <c:pt idx="225">
                  <c:v>44360</c:v>
                </c:pt>
                <c:pt idx="226">
                  <c:v>44361</c:v>
                </c:pt>
                <c:pt idx="227">
                  <c:v>44362</c:v>
                </c:pt>
                <c:pt idx="228">
                  <c:v>44363</c:v>
                </c:pt>
                <c:pt idx="229">
                  <c:v>44364</c:v>
                </c:pt>
                <c:pt idx="230">
                  <c:v>44365</c:v>
                </c:pt>
                <c:pt idx="231">
                  <c:v>44366</c:v>
                </c:pt>
                <c:pt idx="232">
                  <c:v>44367</c:v>
                </c:pt>
                <c:pt idx="233">
                  <c:v>44368</c:v>
                </c:pt>
                <c:pt idx="234">
                  <c:v>44369</c:v>
                </c:pt>
                <c:pt idx="235">
                  <c:v>44370</c:v>
                </c:pt>
                <c:pt idx="236">
                  <c:v>44371</c:v>
                </c:pt>
                <c:pt idx="237">
                  <c:v>44372</c:v>
                </c:pt>
                <c:pt idx="238">
                  <c:v>44373</c:v>
                </c:pt>
                <c:pt idx="239">
                  <c:v>44374</c:v>
                </c:pt>
                <c:pt idx="240">
                  <c:v>44375</c:v>
                </c:pt>
                <c:pt idx="241">
                  <c:v>44376</c:v>
                </c:pt>
                <c:pt idx="242">
                  <c:v>44377</c:v>
                </c:pt>
                <c:pt idx="243">
                  <c:v>44378</c:v>
                </c:pt>
                <c:pt idx="244">
                  <c:v>44379</c:v>
                </c:pt>
                <c:pt idx="245">
                  <c:v>44380</c:v>
                </c:pt>
                <c:pt idx="246">
                  <c:v>44381</c:v>
                </c:pt>
                <c:pt idx="247">
                  <c:v>44382</c:v>
                </c:pt>
                <c:pt idx="248">
                  <c:v>44383</c:v>
                </c:pt>
                <c:pt idx="249">
                  <c:v>44384</c:v>
                </c:pt>
                <c:pt idx="250">
                  <c:v>44385</c:v>
                </c:pt>
                <c:pt idx="251">
                  <c:v>44386</c:v>
                </c:pt>
                <c:pt idx="252">
                  <c:v>44387</c:v>
                </c:pt>
                <c:pt idx="253">
                  <c:v>44388</c:v>
                </c:pt>
                <c:pt idx="254">
                  <c:v>44389</c:v>
                </c:pt>
                <c:pt idx="255">
                  <c:v>44390</c:v>
                </c:pt>
                <c:pt idx="256">
                  <c:v>44391</c:v>
                </c:pt>
                <c:pt idx="257">
                  <c:v>44392</c:v>
                </c:pt>
                <c:pt idx="258">
                  <c:v>44393</c:v>
                </c:pt>
                <c:pt idx="259">
                  <c:v>44394</c:v>
                </c:pt>
                <c:pt idx="260">
                  <c:v>44395</c:v>
                </c:pt>
                <c:pt idx="261">
                  <c:v>44396</c:v>
                </c:pt>
                <c:pt idx="262">
                  <c:v>44397</c:v>
                </c:pt>
                <c:pt idx="263">
                  <c:v>44398</c:v>
                </c:pt>
                <c:pt idx="264">
                  <c:v>44399</c:v>
                </c:pt>
                <c:pt idx="265">
                  <c:v>44400</c:v>
                </c:pt>
                <c:pt idx="266">
                  <c:v>44401</c:v>
                </c:pt>
                <c:pt idx="267">
                  <c:v>44402</c:v>
                </c:pt>
                <c:pt idx="268">
                  <c:v>44403</c:v>
                </c:pt>
                <c:pt idx="269">
                  <c:v>44404</c:v>
                </c:pt>
                <c:pt idx="270">
                  <c:v>44405</c:v>
                </c:pt>
                <c:pt idx="271">
                  <c:v>44406</c:v>
                </c:pt>
                <c:pt idx="272">
                  <c:v>44407</c:v>
                </c:pt>
                <c:pt idx="273">
                  <c:v>44408</c:v>
                </c:pt>
                <c:pt idx="274">
                  <c:v>44409</c:v>
                </c:pt>
                <c:pt idx="275">
                  <c:v>44410</c:v>
                </c:pt>
                <c:pt idx="276">
                  <c:v>44411</c:v>
                </c:pt>
                <c:pt idx="277">
                  <c:v>44412</c:v>
                </c:pt>
                <c:pt idx="278">
                  <c:v>44413</c:v>
                </c:pt>
                <c:pt idx="279">
                  <c:v>44414</c:v>
                </c:pt>
                <c:pt idx="280">
                  <c:v>44415</c:v>
                </c:pt>
                <c:pt idx="281">
                  <c:v>44416</c:v>
                </c:pt>
                <c:pt idx="282">
                  <c:v>44417</c:v>
                </c:pt>
                <c:pt idx="283">
                  <c:v>44418</c:v>
                </c:pt>
                <c:pt idx="284">
                  <c:v>44419</c:v>
                </c:pt>
                <c:pt idx="285">
                  <c:v>44420</c:v>
                </c:pt>
                <c:pt idx="286">
                  <c:v>44421</c:v>
                </c:pt>
                <c:pt idx="287">
                  <c:v>44422</c:v>
                </c:pt>
                <c:pt idx="288">
                  <c:v>44423</c:v>
                </c:pt>
                <c:pt idx="289">
                  <c:v>44424</c:v>
                </c:pt>
                <c:pt idx="290">
                  <c:v>44425</c:v>
                </c:pt>
                <c:pt idx="291">
                  <c:v>44426</c:v>
                </c:pt>
                <c:pt idx="292">
                  <c:v>44427</c:v>
                </c:pt>
                <c:pt idx="293">
                  <c:v>44428</c:v>
                </c:pt>
                <c:pt idx="294">
                  <c:v>44429</c:v>
                </c:pt>
                <c:pt idx="295">
                  <c:v>44430</c:v>
                </c:pt>
                <c:pt idx="296">
                  <c:v>44431</c:v>
                </c:pt>
                <c:pt idx="297">
                  <c:v>44432</c:v>
                </c:pt>
                <c:pt idx="298">
                  <c:v>44433</c:v>
                </c:pt>
                <c:pt idx="299">
                  <c:v>44434</c:v>
                </c:pt>
                <c:pt idx="300">
                  <c:v>44435</c:v>
                </c:pt>
                <c:pt idx="301">
                  <c:v>44436</c:v>
                </c:pt>
                <c:pt idx="302">
                  <c:v>44437</c:v>
                </c:pt>
                <c:pt idx="303">
                  <c:v>44438</c:v>
                </c:pt>
                <c:pt idx="304">
                  <c:v>44439</c:v>
                </c:pt>
                <c:pt idx="305">
                  <c:v>44440</c:v>
                </c:pt>
                <c:pt idx="306">
                  <c:v>44441</c:v>
                </c:pt>
                <c:pt idx="307">
                  <c:v>44442</c:v>
                </c:pt>
                <c:pt idx="308">
                  <c:v>44443</c:v>
                </c:pt>
                <c:pt idx="309">
                  <c:v>44444</c:v>
                </c:pt>
                <c:pt idx="310">
                  <c:v>44445</c:v>
                </c:pt>
                <c:pt idx="311">
                  <c:v>44446</c:v>
                </c:pt>
                <c:pt idx="312">
                  <c:v>44447</c:v>
                </c:pt>
                <c:pt idx="313">
                  <c:v>44448</c:v>
                </c:pt>
                <c:pt idx="314">
                  <c:v>44449</c:v>
                </c:pt>
                <c:pt idx="315">
                  <c:v>44450</c:v>
                </c:pt>
                <c:pt idx="316">
                  <c:v>44451</c:v>
                </c:pt>
                <c:pt idx="317">
                  <c:v>44452</c:v>
                </c:pt>
                <c:pt idx="318">
                  <c:v>44453</c:v>
                </c:pt>
                <c:pt idx="319">
                  <c:v>44454</c:v>
                </c:pt>
                <c:pt idx="320">
                  <c:v>44455</c:v>
                </c:pt>
                <c:pt idx="321">
                  <c:v>44456</c:v>
                </c:pt>
                <c:pt idx="322">
                  <c:v>44457</c:v>
                </c:pt>
                <c:pt idx="323">
                  <c:v>44458</c:v>
                </c:pt>
                <c:pt idx="324">
                  <c:v>44459</c:v>
                </c:pt>
                <c:pt idx="325">
                  <c:v>44460</c:v>
                </c:pt>
                <c:pt idx="326">
                  <c:v>44461</c:v>
                </c:pt>
                <c:pt idx="327">
                  <c:v>44462</c:v>
                </c:pt>
                <c:pt idx="328">
                  <c:v>44463</c:v>
                </c:pt>
                <c:pt idx="329">
                  <c:v>44464</c:v>
                </c:pt>
                <c:pt idx="330">
                  <c:v>44465</c:v>
                </c:pt>
                <c:pt idx="331">
                  <c:v>44466</c:v>
                </c:pt>
                <c:pt idx="332">
                  <c:v>44467</c:v>
                </c:pt>
                <c:pt idx="333">
                  <c:v>44468</c:v>
                </c:pt>
                <c:pt idx="334">
                  <c:v>44469</c:v>
                </c:pt>
                <c:pt idx="335">
                  <c:v>44470</c:v>
                </c:pt>
                <c:pt idx="336">
                  <c:v>44471</c:v>
                </c:pt>
                <c:pt idx="337">
                  <c:v>44472</c:v>
                </c:pt>
                <c:pt idx="338">
                  <c:v>44473</c:v>
                </c:pt>
                <c:pt idx="339">
                  <c:v>44474</c:v>
                </c:pt>
                <c:pt idx="340">
                  <c:v>44475</c:v>
                </c:pt>
                <c:pt idx="341">
                  <c:v>44476</c:v>
                </c:pt>
                <c:pt idx="342">
                  <c:v>44477</c:v>
                </c:pt>
                <c:pt idx="343">
                  <c:v>44478</c:v>
                </c:pt>
                <c:pt idx="344">
                  <c:v>44479</c:v>
                </c:pt>
                <c:pt idx="345">
                  <c:v>44480</c:v>
                </c:pt>
                <c:pt idx="346">
                  <c:v>44481</c:v>
                </c:pt>
                <c:pt idx="347">
                  <c:v>44482</c:v>
                </c:pt>
                <c:pt idx="348">
                  <c:v>44483</c:v>
                </c:pt>
                <c:pt idx="349">
                  <c:v>44484</c:v>
                </c:pt>
                <c:pt idx="350">
                  <c:v>44485</c:v>
                </c:pt>
                <c:pt idx="351">
                  <c:v>44486</c:v>
                </c:pt>
                <c:pt idx="352">
                  <c:v>44487</c:v>
                </c:pt>
                <c:pt idx="353">
                  <c:v>44488</c:v>
                </c:pt>
                <c:pt idx="354">
                  <c:v>44489</c:v>
                </c:pt>
                <c:pt idx="355">
                  <c:v>44490</c:v>
                </c:pt>
                <c:pt idx="356">
                  <c:v>44491</c:v>
                </c:pt>
                <c:pt idx="357">
                  <c:v>44492</c:v>
                </c:pt>
                <c:pt idx="358">
                  <c:v>44493</c:v>
                </c:pt>
                <c:pt idx="359">
                  <c:v>44494</c:v>
                </c:pt>
                <c:pt idx="360">
                  <c:v>44495</c:v>
                </c:pt>
                <c:pt idx="361">
                  <c:v>44496</c:v>
                </c:pt>
                <c:pt idx="362">
                  <c:v>44497</c:v>
                </c:pt>
                <c:pt idx="363">
                  <c:v>44498</c:v>
                </c:pt>
                <c:pt idx="364">
                  <c:v>44499</c:v>
                </c:pt>
                <c:pt idx="365">
                  <c:v>44500</c:v>
                </c:pt>
                <c:pt idx="366">
                  <c:v>44501</c:v>
                </c:pt>
                <c:pt idx="367">
                  <c:v>44502</c:v>
                </c:pt>
                <c:pt idx="368">
                  <c:v>44503</c:v>
                </c:pt>
                <c:pt idx="369">
                  <c:v>44504</c:v>
                </c:pt>
                <c:pt idx="370">
                  <c:v>44505</c:v>
                </c:pt>
                <c:pt idx="371">
                  <c:v>44506</c:v>
                </c:pt>
                <c:pt idx="372">
                  <c:v>44507</c:v>
                </c:pt>
                <c:pt idx="373">
                  <c:v>44508</c:v>
                </c:pt>
                <c:pt idx="374">
                  <c:v>44509</c:v>
                </c:pt>
                <c:pt idx="375">
                  <c:v>44510</c:v>
                </c:pt>
                <c:pt idx="376">
                  <c:v>44511</c:v>
                </c:pt>
                <c:pt idx="377">
                  <c:v>44512</c:v>
                </c:pt>
                <c:pt idx="378">
                  <c:v>44513</c:v>
                </c:pt>
                <c:pt idx="379">
                  <c:v>44514</c:v>
                </c:pt>
                <c:pt idx="380">
                  <c:v>44515</c:v>
                </c:pt>
                <c:pt idx="381">
                  <c:v>44516</c:v>
                </c:pt>
                <c:pt idx="382">
                  <c:v>44517</c:v>
                </c:pt>
                <c:pt idx="383">
                  <c:v>44518</c:v>
                </c:pt>
                <c:pt idx="384">
                  <c:v>44519</c:v>
                </c:pt>
                <c:pt idx="385">
                  <c:v>44520</c:v>
                </c:pt>
                <c:pt idx="386">
                  <c:v>44521</c:v>
                </c:pt>
                <c:pt idx="387">
                  <c:v>44522</c:v>
                </c:pt>
                <c:pt idx="388">
                  <c:v>44523</c:v>
                </c:pt>
                <c:pt idx="389">
                  <c:v>44524</c:v>
                </c:pt>
                <c:pt idx="390">
                  <c:v>44525</c:v>
                </c:pt>
                <c:pt idx="391">
                  <c:v>44526</c:v>
                </c:pt>
                <c:pt idx="392">
                  <c:v>44527</c:v>
                </c:pt>
                <c:pt idx="393">
                  <c:v>44528</c:v>
                </c:pt>
                <c:pt idx="394">
                  <c:v>44529</c:v>
                </c:pt>
                <c:pt idx="395">
                  <c:v>44530</c:v>
                </c:pt>
                <c:pt idx="396">
                  <c:v>44531</c:v>
                </c:pt>
                <c:pt idx="397">
                  <c:v>44532</c:v>
                </c:pt>
                <c:pt idx="398">
                  <c:v>44533</c:v>
                </c:pt>
                <c:pt idx="399">
                  <c:v>44534</c:v>
                </c:pt>
                <c:pt idx="400">
                  <c:v>44535</c:v>
                </c:pt>
                <c:pt idx="401">
                  <c:v>44536</c:v>
                </c:pt>
                <c:pt idx="402">
                  <c:v>44537</c:v>
                </c:pt>
                <c:pt idx="403">
                  <c:v>44538</c:v>
                </c:pt>
                <c:pt idx="404">
                  <c:v>44539</c:v>
                </c:pt>
                <c:pt idx="405">
                  <c:v>44540</c:v>
                </c:pt>
                <c:pt idx="406">
                  <c:v>44541</c:v>
                </c:pt>
                <c:pt idx="407">
                  <c:v>44542</c:v>
                </c:pt>
                <c:pt idx="408">
                  <c:v>44543</c:v>
                </c:pt>
                <c:pt idx="409">
                  <c:v>44544</c:v>
                </c:pt>
                <c:pt idx="410">
                  <c:v>44545</c:v>
                </c:pt>
                <c:pt idx="411">
                  <c:v>44546</c:v>
                </c:pt>
                <c:pt idx="412">
                  <c:v>44547</c:v>
                </c:pt>
                <c:pt idx="413">
                  <c:v>44548</c:v>
                </c:pt>
                <c:pt idx="414">
                  <c:v>44549</c:v>
                </c:pt>
                <c:pt idx="415">
                  <c:v>44550</c:v>
                </c:pt>
                <c:pt idx="416">
                  <c:v>44551</c:v>
                </c:pt>
              </c:numCache>
            </c:numRef>
          </c:cat>
          <c:val>
            <c:numRef>
              <c:f>Sheet1!$B$61:$B$477</c:f>
              <c:numCache>
                <c:formatCode>General</c:formatCode>
                <c:ptCount val="417"/>
                <c:pt idx="0">
                  <c:v>0.25460186142699998</c:v>
                </c:pt>
                <c:pt idx="1">
                  <c:v>0.27619207521799999</c:v>
                </c:pt>
                <c:pt idx="2">
                  <c:v>0.22699309478900001</c:v>
                </c:pt>
                <c:pt idx="3">
                  <c:v>0.224701269604</c:v>
                </c:pt>
                <c:pt idx="4">
                  <c:v>0.27441581785500002</c:v>
                </c:pt>
                <c:pt idx="5">
                  <c:v>0.24332103984799999</c:v>
                </c:pt>
                <c:pt idx="6">
                  <c:v>0.25227033744299998</c:v>
                </c:pt>
                <c:pt idx="7">
                  <c:v>0.26278850047199998</c:v>
                </c:pt>
                <c:pt idx="8">
                  <c:v>0.233676975945</c:v>
                </c:pt>
                <c:pt idx="9">
                  <c:v>0.18737131091199999</c:v>
                </c:pt>
                <c:pt idx="10">
                  <c:v>0.20180750954900001</c:v>
                </c:pt>
                <c:pt idx="11">
                  <c:v>0.205177557501</c:v>
                </c:pt>
                <c:pt idx="12">
                  <c:v>0.20884146341400001</c:v>
                </c:pt>
                <c:pt idx="13">
                  <c:v>0.20638085742699999</c:v>
                </c:pt>
                <c:pt idx="14">
                  <c:v>0.23717266340199999</c:v>
                </c:pt>
                <c:pt idx="15">
                  <c:v>0.22184684684600001</c:v>
                </c:pt>
                <c:pt idx="16">
                  <c:v>0.15802469135800001</c:v>
                </c:pt>
                <c:pt idx="17">
                  <c:v>0.22129752222400001</c:v>
                </c:pt>
                <c:pt idx="18">
                  <c:v>0.17855323484399999</c:v>
                </c:pt>
                <c:pt idx="19">
                  <c:v>0.209997355197</c:v>
                </c:pt>
                <c:pt idx="20">
                  <c:v>0.211661016949</c:v>
                </c:pt>
                <c:pt idx="21">
                  <c:v>0.20226969292300001</c:v>
                </c:pt>
                <c:pt idx="22">
                  <c:v>0.21456086286500001</c:v>
                </c:pt>
                <c:pt idx="23">
                  <c:v>0.13074278570600001</c:v>
                </c:pt>
                <c:pt idx="24">
                  <c:v>0.19665948275799999</c:v>
                </c:pt>
                <c:pt idx="25">
                  <c:v>0.181042919054</c:v>
                </c:pt>
                <c:pt idx="26">
                  <c:v>0.16605694289799999</c:v>
                </c:pt>
                <c:pt idx="27">
                  <c:v>0.18342886920199999</c:v>
                </c:pt>
                <c:pt idx="28">
                  <c:v>0.222820993439</c:v>
                </c:pt>
                <c:pt idx="29">
                  <c:v>0.19857142857099999</c:v>
                </c:pt>
                <c:pt idx="30">
                  <c:v>0.112045347189</c:v>
                </c:pt>
                <c:pt idx="31">
                  <c:v>0.18981426003499999</c:v>
                </c:pt>
                <c:pt idx="32">
                  <c:v>0.176090468497</c:v>
                </c:pt>
                <c:pt idx="33">
                  <c:v>0.19598195981899999</c:v>
                </c:pt>
                <c:pt idx="34">
                  <c:v>0.198982609724</c:v>
                </c:pt>
                <c:pt idx="35">
                  <c:v>0.268767181222</c:v>
                </c:pt>
                <c:pt idx="36">
                  <c:v>0.1628003314</c:v>
                </c:pt>
                <c:pt idx="37">
                  <c:v>0.12858447488499999</c:v>
                </c:pt>
                <c:pt idx="38">
                  <c:v>0.18733401429999999</c:v>
                </c:pt>
                <c:pt idx="39">
                  <c:v>0.19746707193499999</c:v>
                </c:pt>
                <c:pt idx="40">
                  <c:v>0.20389333874000001</c:v>
                </c:pt>
                <c:pt idx="41">
                  <c:v>0.186594363943</c:v>
                </c:pt>
                <c:pt idx="42">
                  <c:v>0.208631947762</c:v>
                </c:pt>
                <c:pt idx="43">
                  <c:v>0.21710932674399999</c:v>
                </c:pt>
                <c:pt idx="44">
                  <c:v>0.13766924943200001</c:v>
                </c:pt>
                <c:pt idx="45">
                  <c:v>0.195437682532</c:v>
                </c:pt>
                <c:pt idx="46">
                  <c:v>0.18166257349100001</c:v>
                </c:pt>
                <c:pt idx="47">
                  <c:v>0.17286098371</c:v>
                </c:pt>
                <c:pt idx="48">
                  <c:v>0.17802271209000001</c:v>
                </c:pt>
                <c:pt idx="49">
                  <c:v>0.176125244618</c:v>
                </c:pt>
                <c:pt idx="50">
                  <c:v>0.185565154787</c:v>
                </c:pt>
                <c:pt idx="51">
                  <c:v>0.143829296424</c:v>
                </c:pt>
                <c:pt idx="52">
                  <c:v>0.167971195992</c:v>
                </c:pt>
                <c:pt idx="53">
                  <c:v>0.18222458283500001</c:v>
                </c:pt>
                <c:pt idx="54">
                  <c:v>0.23514611960500001</c:v>
                </c:pt>
                <c:pt idx="55">
                  <c:v>0.215721572157</c:v>
                </c:pt>
                <c:pt idx="56">
                  <c:v>0.184973544973</c:v>
                </c:pt>
                <c:pt idx="57">
                  <c:v>0.19321685508700001</c:v>
                </c:pt>
                <c:pt idx="58">
                  <c:v>0.200773933037</c:v>
                </c:pt>
                <c:pt idx="59">
                  <c:v>0.268036912751</c:v>
                </c:pt>
                <c:pt idx="60">
                  <c:v>0.26955660688700001</c:v>
                </c:pt>
                <c:pt idx="61">
                  <c:v>0.30043875422499999</c:v>
                </c:pt>
                <c:pt idx="62">
                  <c:v>0.35447520927199999</c:v>
                </c:pt>
                <c:pt idx="63">
                  <c:v>0.20372226198900001</c:v>
                </c:pt>
                <c:pt idx="64">
                  <c:v>0.25786245595700003</c:v>
                </c:pt>
                <c:pt idx="65">
                  <c:v>0.19630709426599999</c:v>
                </c:pt>
                <c:pt idx="66">
                  <c:v>0.24851292052599999</c:v>
                </c:pt>
                <c:pt idx="67">
                  <c:v>0.28928530848700001</c:v>
                </c:pt>
                <c:pt idx="68">
                  <c:v>0.26091819045999998</c:v>
                </c:pt>
                <c:pt idx="69">
                  <c:v>0.224930953898</c:v>
                </c:pt>
                <c:pt idx="70">
                  <c:v>0.28188047202099997</c:v>
                </c:pt>
                <c:pt idx="71">
                  <c:v>0.23422181372500001</c:v>
                </c:pt>
                <c:pt idx="72">
                  <c:v>0.15606385513400001</c:v>
                </c:pt>
                <c:pt idx="73">
                  <c:v>0.20508719430299999</c:v>
                </c:pt>
                <c:pt idx="74">
                  <c:v>0.22739369566500001</c:v>
                </c:pt>
                <c:pt idx="75">
                  <c:v>0.17919721635300001</c:v>
                </c:pt>
                <c:pt idx="76">
                  <c:v>0.20839201877899999</c:v>
                </c:pt>
                <c:pt idx="77">
                  <c:v>0.24130675526000001</c:v>
                </c:pt>
                <c:pt idx="78">
                  <c:v>0.222569879015</c:v>
                </c:pt>
                <c:pt idx="79">
                  <c:v>0.160218307575</c:v>
                </c:pt>
                <c:pt idx="80">
                  <c:v>0.221723353219</c:v>
                </c:pt>
                <c:pt idx="81">
                  <c:v>0.20385911583899999</c:v>
                </c:pt>
                <c:pt idx="82">
                  <c:v>0.199761211849</c:v>
                </c:pt>
                <c:pt idx="83">
                  <c:v>0.19427328742200001</c:v>
                </c:pt>
                <c:pt idx="84">
                  <c:v>0.225131596706</c:v>
                </c:pt>
                <c:pt idx="85">
                  <c:v>0.20536271045500001</c:v>
                </c:pt>
                <c:pt idx="86">
                  <c:v>0.148962148962</c:v>
                </c:pt>
                <c:pt idx="87">
                  <c:v>0.22222913684699999</c:v>
                </c:pt>
                <c:pt idx="88">
                  <c:v>0.18443458448200001</c:v>
                </c:pt>
                <c:pt idx="89">
                  <c:v>0.21929084001599999</c:v>
                </c:pt>
                <c:pt idx="90">
                  <c:v>0.19130840032599999</c:v>
                </c:pt>
                <c:pt idx="91">
                  <c:v>0.204291845493</c:v>
                </c:pt>
                <c:pt idx="92">
                  <c:v>0.201768488745</c:v>
                </c:pt>
                <c:pt idx="93">
                  <c:v>0.14863593603</c:v>
                </c:pt>
                <c:pt idx="94">
                  <c:v>0.19903347055599999</c:v>
                </c:pt>
                <c:pt idx="95">
                  <c:v>0.21559152305500001</c:v>
                </c:pt>
                <c:pt idx="96">
                  <c:v>0.19232989161799999</c:v>
                </c:pt>
                <c:pt idx="97">
                  <c:v>0.18875951634499999</c:v>
                </c:pt>
                <c:pt idx="98">
                  <c:v>0.23798104373599999</c:v>
                </c:pt>
                <c:pt idx="99">
                  <c:v>0.177071720549</c:v>
                </c:pt>
                <c:pt idx="100">
                  <c:v>0.16369881109600001</c:v>
                </c:pt>
                <c:pt idx="101">
                  <c:v>0.21532984519100001</c:v>
                </c:pt>
                <c:pt idx="102">
                  <c:v>0.20471894517600001</c:v>
                </c:pt>
                <c:pt idx="103">
                  <c:v>0.203997758266</c:v>
                </c:pt>
                <c:pt idx="104">
                  <c:v>0.18858369571200001</c:v>
                </c:pt>
                <c:pt idx="105">
                  <c:v>0.21639379577699999</c:v>
                </c:pt>
                <c:pt idx="106">
                  <c:v>0.199673853959</c:v>
                </c:pt>
                <c:pt idx="107">
                  <c:v>0.17184176945900001</c:v>
                </c:pt>
                <c:pt idx="108">
                  <c:v>0.23336137364500001</c:v>
                </c:pt>
                <c:pt idx="109">
                  <c:v>0.20134125115099999</c:v>
                </c:pt>
                <c:pt idx="110">
                  <c:v>0.215552178318</c:v>
                </c:pt>
                <c:pt idx="111">
                  <c:v>0.19061134387500001</c:v>
                </c:pt>
                <c:pt idx="112">
                  <c:v>0.24649784482699999</c:v>
                </c:pt>
                <c:pt idx="113">
                  <c:v>0.22559812123799999</c:v>
                </c:pt>
                <c:pt idx="114">
                  <c:v>0.17899686520300001</c:v>
                </c:pt>
                <c:pt idx="115">
                  <c:v>0.239870077141</c:v>
                </c:pt>
                <c:pt idx="116">
                  <c:v>0.20221084953900001</c:v>
                </c:pt>
                <c:pt idx="117">
                  <c:v>0.22144630011300001</c:v>
                </c:pt>
                <c:pt idx="118">
                  <c:v>0.20376591921199999</c:v>
                </c:pt>
                <c:pt idx="119">
                  <c:v>0.218272200045</c:v>
                </c:pt>
                <c:pt idx="120">
                  <c:v>0.21158566519300001</c:v>
                </c:pt>
                <c:pt idx="121">
                  <c:v>0.17083044604100001</c:v>
                </c:pt>
                <c:pt idx="122">
                  <c:v>0.22088469905700001</c:v>
                </c:pt>
                <c:pt idx="123">
                  <c:v>0.208534093975</c:v>
                </c:pt>
                <c:pt idx="124">
                  <c:v>0.18806537438199999</c:v>
                </c:pt>
                <c:pt idx="125">
                  <c:v>0.16518232819000001</c:v>
                </c:pt>
                <c:pt idx="126">
                  <c:v>0.26021850408699998</c:v>
                </c:pt>
                <c:pt idx="127">
                  <c:v>0.169028213166</c:v>
                </c:pt>
                <c:pt idx="128">
                  <c:v>0.12498493794399999</c:v>
                </c:pt>
                <c:pt idx="129">
                  <c:v>0.17262079062899999</c:v>
                </c:pt>
                <c:pt idx="130">
                  <c:v>0.15802003193399999</c:v>
                </c:pt>
                <c:pt idx="131">
                  <c:v>0.12088771275599999</c:v>
                </c:pt>
                <c:pt idx="132">
                  <c:v>0.16235761507099999</c:v>
                </c:pt>
                <c:pt idx="133">
                  <c:v>0.21674140508199999</c:v>
                </c:pt>
                <c:pt idx="134">
                  <c:v>0.15495049504899999</c:v>
                </c:pt>
                <c:pt idx="135">
                  <c:v>0.115310401605</c:v>
                </c:pt>
                <c:pt idx="136">
                  <c:v>0.15072310307299999</c:v>
                </c:pt>
                <c:pt idx="137">
                  <c:v>0.13523576896699999</c:v>
                </c:pt>
                <c:pt idx="138">
                  <c:v>0.12718306319799999</c:v>
                </c:pt>
                <c:pt idx="139">
                  <c:v>0.13041158265399999</c:v>
                </c:pt>
                <c:pt idx="140">
                  <c:v>0.20310513891400001</c:v>
                </c:pt>
                <c:pt idx="141">
                  <c:v>0.123913583312</c:v>
                </c:pt>
                <c:pt idx="142">
                  <c:v>9.3609406951999999E-2</c:v>
                </c:pt>
                <c:pt idx="143">
                  <c:v>0.126573465523</c:v>
                </c:pt>
                <c:pt idx="144">
                  <c:v>0.10403079565999999</c:v>
                </c:pt>
                <c:pt idx="145">
                  <c:v>9.9220457287999997E-2</c:v>
                </c:pt>
                <c:pt idx="146">
                  <c:v>0.117014020462</c:v>
                </c:pt>
                <c:pt idx="147">
                  <c:v>0.184538363022</c:v>
                </c:pt>
                <c:pt idx="148">
                  <c:v>0.12506303580399999</c:v>
                </c:pt>
                <c:pt idx="149">
                  <c:v>8.0643473711000002E-2</c:v>
                </c:pt>
                <c:pt idx="150">
                  <c:v>0.104993056813</c:v>
                </c:pt>
                <c:pt idx="151">
                  <c:v>8.9652728560999997E-2</c:v>
                </c:pt>
                <c:pt idx="152">
                  <c:v>7.1037463975999998E-2</c:v>
                </c:pt>
                <c:pt idx="153">
                  <c:v>0.143948296122</c:v>
                </c:pt>
                <c:pt idx="154">
                  <c:v>0.15091486466000001</c:v>
                </c:pt>
                <c:pt idx="155">
                  <c:v>0.14302680692200001</c:v>
                </c:pt>
                <c:pt idx="156">
                  <c:v>8.6407630802999999E-2</c:v>
                </c:pt>
                <c:pt idx="157">
                  <c:v>4.8563246765999997E-2</c:v>
                </c:pt>
                <c:pt idx="158">
                  <c:v>7.3285459807999997E-2</c:v>
                </c:pt>
                <c:pt idx="159">
                  <c:v>6.3160757385000002E-2</c:v>
                </c:pt>
                <c:pt idx="160">
                  <c:v>7.8647267007000005E-2</c:v>
                </c:pt>
                <c:pt idx="161">
                  <c:v>0.121530698065</c:v>
                </c:pt>
                <c:pt idx="162">
                  <c:v>6.4782276545999995E-2</c:v>
                </c:pt>
                <c:pt idx="163">
                  <c:v>4.6593173064000001E-2</c:v>
                </c:pt>
                <c:pt idx="164">
                  <c:v>6.1392702100000002E-2</c:v>
                </c:pt>
                <c:pt idx="165">
                  <c:v>5.0701766166999999E-2</c:v>
                </c:pt>
                <c:pt idx="166">
                  <c:v>4.4661499804999998E-2</c:v>
                </c:pt>
                <c:pt idx="167">
                  <c:v>6.6318638824000006E-2</c:v>
                </c:pt>
                <c:pt idx="168">
                  <c:v>9.8304580606000003E-2</c:v>
                </c:pt>
                <c:pt idx="169">
                  <c:v>5.4747647561999999E-2</c:v>
                </c:pt>
                <c:pt idx="170">
                  <c:v>3.9306081117E-2</c:v>
                </c:pt>
                <c:pt idx="171">
                  <c:v>4.4720534813999999E-2</c:v>
                </c:pt>
                <c:pt idx="172">
                  <c:v>4.0998461275000002E-2</c:v>
                </c:pt>
                <c:pt idx="173">
                  <c:v>3.6269250735000001E-2</c:v>
                </c:pt>
                <c:pt idx="174">
                  <c:v>5.3210408085999999E-2</c:v>
                </c:pt>
                <c:pt idx="175">
                  <c:v>8.3157450401000005E-2</c:v>
                </c:pt>
                <c:pt idx="176">
                  <c:v>6.2167502659E-2</c:v>
                </c:pt>
                <c:pt idx="177">
                  <c:v>3.0212989744E-2</c:v>
                </c:pt>
                <c:pt idx="178">
                  <c:v>3.9328611025000001E-2</c:v>
                </c:pt>
                <c:pt idx="179">
                  <c:v>3.4529914528999998E-2</c:v>
                </c:pt>
                <c:pt idx="180">
                  <c:v>3.0479635583999999E-2</c:v>
                </c:pt>
                <c:pt idx="181">
                  <c:v>4.4524669072999998E-2</c:v>
                </c:pt>
                <c:pt idx="182">
                  <c:v>9.4194411911999995E-2</c:v>
                </c:pt>
                <c:pt idx="183">
                  <c:v>3.1161122789E-2</c:v>
                </c:pt>
                <c:pt idx="184">
                  <c:v>2.3227117658999999E-2</c:v>
                </c:pt>
                <c:pt idx="185">
                  <c:v>3.1000291629999999E-2</c:v>
                </c:pt>
                <c:pt idx="186">
                  <c:v>2.7394005227000001E-2</c:v>
                </c:pt>
                <c:pt idx="187">
                  <c:v>2.3186703065000001E-2</c:v>
                </c:pt>
                <c:pt idx="188">
                  <c:v>3.5682215604999998E-2</c:v>
                </c:pt>
                <c:pt idx="189">
                  <c:v>5.3784534901999997E-2</c:v>
                </c:pt>
                <c:pt idx="190">
                  <c:v>2.3663919169999999E-2</c:v>
                </c:pt>
                <c:pt idx="191">
                  <c:v>1.7200754004999999E-2</c:v>
                </c:pt>
                <c:pt idx="192">
                  <c:v>1.9495095476E-2</c:v>
                </c:pt>
                <c:pt idx="193">
                  <c:v>1.7957390425000001E-2</c:v>
                </c:pt>
                <c:pt idx="194">
                  <c:v>1.7133047209999999E-2</c:v>
                </c:pt>
                <c:pt idx="195">
                  <c:v>2.1047686162999998E-2</c:v>
                </c:pt>
                <c:pt idx="196">
                  <c:v>3.9622371619999999E-2</c:v>
                </c:pt>
                <c:pt idx="197">
                  <c:v>1.4970453053E-2</c:v>
                </c:pt>
                <c:pt idx="198">
                  <c:v>1.0448752792999999E-2</c:v>
                </c:pt>
                <c:pt idx="199">
                  <c:v>1.3394490249E-2</c:v>
                </c:pt>
                <c:pt idx="200">
                  <c:v>1.1430006907999999E-2</c:v>
                </c:pt>
                <c:pt idx="201">
                  <c:v>9.3902552779999999E-3</c:v>
                </c:pt>
                <c:pt idx="202">
                  <c:v>1.1546743892E-2</c:v>
                </c:pt>
                <c:pt idx="203">
                  <c:v>2.1628683408000001E-2</c:v>
                </c:pt>
                <c:pt idx="204">
                  <c:v>1.2740476493000001E-2</c:v>
                </c:pt>
                <c:pt idx="205">
                  <c:v>8.0910929790000002E-3</c:v>
                </c:pt>
                <c:pt idx="206">
                  <c:v>1.0057174347E-2</c:v>
                </c:pt>
                <c:pt idx="207">
                  <c:v>8.6049647069999999E-3</c:v>
                </c:pt>
                <c:pt idx="208">
                  <c:v>8.8682432429999999E-3</c:v>
                </c:pt>
                <c:pt idx="209">
                  <c:v>8.7731137799999994E-3</c:v>
                </c:pt>
                <c:pt idx="210">
                  <c:v>1.6491985202999999E-2</c:v>
                </c:pt>
                <c:pt idx="211">
                  <c:v>9.4566196330000008E-3</c:v>
                </c:pt>
                <c:pt idx="212">
                  <c:v>6.1851965910000003E-3</c:v>
                </c:pt>
                <c:pt idx="213">
                  <c:v>8.4614190340000003E-3</c:v>
                </c:pt>
                <c:pt idx="214">
                  <c:v>6.6310160419999998E-3</c:v>
                </c:pt>
                <c:pt idx="215">
                  <c:v>5.6925996199999997E-3</c:v>
                </c:pt>
                <c:pt idx="216">
                  <c:v>6.7605371129999996E-3</c:v>
                </c:pt>
                <c:pt idx="217">
                  <c:v>1.0375237765E-2</c:v>
                </c:pt>
                <c:pt idx="218">
                  <c:v>8.7858021429999995E-3</c:v>
                </c:pt>
                <c:pt idx="219">
                  <c:v>4.1640178000000002E-3</c:v>
                </c:pt>
                <c:pt idx="220">
                  <c:v>7.0138855969999999E-3</c:v>
                </c:pt>
                <c:pt idx="221">
                  <c:v>5.2610482009999996E-3</c:v>
                </c:pt>
                <c:pt idx="222">
                  <c:v>3.833090732E-3</c:v>
                </c:pt>
                <c:pt idx="223">
                  <c:v>3.501050315E-3</c:v>
                </c:pt>
                <c:pt idx="224">
                  <c:v>5.3078556260000003E-3</c:v>
                </c:pt>
                <c:pt idx="225">
                  <c:v>2.9268292679999999E-3</c:v>
                </c:pt>
                <c:pt idx="226">
                  <c:v>2.3336003620000002E-3</c:v>
                </c:pt>
                <c:pt idx="227">
                  <c:v>3.8327701849999998E-3</c:v>
                </c:pt>
                <c:pt idx="228">
                  <c:v>1.895734597E-3</c:v>
                </c:pt>
                <c:pt idx="229">
                  <c:v>1.8742385900000001E-3</c:v>
                </c:pt>
                <c:pt idx="230">
                  <c:v>1.8152288139999999E-3</c:v>
                </c:pt>
                <c:pt idx="231">
                  <c:v>2.3850085170000002E-3</c:v>
                </c:pt>
                <c:pt idx="232">
                  <c:v>4.7876769350000004E-3</c:v>
                </c:pt>
                <c:pt idx="233">
                  <c:v>1.3401015220000001E-3</c:v>
                </c:pt>
                <c:pt idx="234">
                  <c:v>1.5880772040000001E-3</c:v>
                </c:pt>
                <c:pt idx="235">
                  <c:v>1.9643953339999998E-3</c:v>
                </c:pt>
                <c:pt idx="236">
                  <c:v>1.4958063990000001E-3</c:v>
                </c:pt>
                <c:pt idx="237">
                  <c:v>2.6063765300000001E-3</c:v>
                </c:pt>
                <c:pt idx="238">
                  <c:v>2.7863777079999998E-3</c:v>
                </c:pt>
                <c:pt idx="239">
                  <c:v>3.1552851019999999E-3</c:v>
                </c:pt>
                <c:pt idx="240">
                  <c:v>1.4890728330000001E-3</c:v>
                </c:pt>
                <c:pt idx="241">
                  <c:v>2.5133145829999998E-3</c:v>
                </c:pt>
                <c:pt idx="242">
                  <c:v>2.4243893560000002E-3</c:v>
                </c:pt>
                <c:pt idx="243">
                  <c:v>2.477640802E-3</c:v>
                </c:pt>
                <c:pt idx="244">
                  <c:v>3.0155083280000001E-3</c:v>
                </c:pt>
                <c:pt idx="245">
                  <c:v>4.0080160320000004E-3</c:v>
                </c:pt>
                <c:pt idx="246">
                  <c:v>5.9974747470000001E-3</c:v>
                </c:pt>
                <c:pt idx="247">
                  <c:v>5.8004640370000003E-3</c:v>
                </c:pt>
                <c:pt idx="248">
                  <c:v>5.8601134209999997E-3</c:v>
                </c:pt>
                <c:pt idx="249">
                  <c:v>5.6507997309999999E-3</c:v>
                </c:pt>
                <c:pt idx="250">
                  <c:v>5.1619348930000003E-3</c:v>
                </c:pt>
                <c:pt idx="251">
                  <c:v>3.8937486660000002E-3</c:v>
                </c:pt>
                <c:pt idx="252">
                  <c:v>4.0477835909999999E-3</c:v>
                </c:pt>
                <c:pt idx="253">
                  <c:v>4.7452032179999999E-3</c:v>
                </c:pt>
                <c:pt idx="254">
                  <c:v>3.5242855309999999E-3</c:v>
                </c:pt>
                <c:pt idx="255">
                  <c:v>7.7513054830000002E-3</c:v>
                </c:pt>
                <c:pt idx="256">
                  <c:v>7.6503693280000002E-3</c:v>
                </c:pt>
                <c:pt idx="257">
                  <c:v>4.33582972E-3</c:v>
                </c:pt>
                <c:pt idx="258">
                  <c:v>2.2559852670000001E-3</c:v>
                </c:pt>
                <c:pt idx="259">
                  <c:v>5.3305752239999997E-3</c:v>
                </c:pt>
                <c:pt idx="260">
                  <c:v>3.8314176239999998E-3</c:v>
                </c:pt>
                <c:pt idx="261">
                  <c:v>3.9109107779999996E-3</c:v>
                </c:pt>
                <c:pt idx="262">
                  <c:v>8.921933085E-3</c:v>
                </c:pt>
                <c:pt idx="263">
                  <c:v>7.2951207950000003E-3</c:v>
                </c:pt>
                <c:pt idx="264">
                  <c:v>2.9839128169999998E-3</c:v>
                </c:pt>
                <c:pt idx="265">
                  <c:v>2.0708399840000001E-3</c:v>
                </c:pt>
                <c:pt idx="266">
                  <c:v>2.1082749789999998E-3</c:v>
                </c:pt>
                <c:pt idx="267">
                  <c:v>1.9147435250000001E-3</c:v>
                </c:pt>
                <c:pt idx="268">
                  <c:v>3.2585305870000002E-3</c:v>
                </c:pt>
                <c:pt idx="269">
                  <c:v>5.9486537250000001E-3</c:v>
                </c:pt>
                <c:pt idx="270">
                  <c:v>4.9672790339999997E-3</c:v>
                </c:pt>
                <c:pt idx="271">
                  <c:v>3.360134405E-3</c:v>
                </c:pt>
                <c:pt idx="272">
                  <c:v>2.0200354529999998E-3</c:v>
                </c:pt>
                <c:pt idx="273">
                  <c:v>2.8272547350000001E-3</c:v>
                </c:pt>
                <c:pt idx="274">
                  <c:v>3.0608214839999998E-3</c:v>
                </c:pt>
                <c:pt idx="275">
                  <c:v>2.6899396249999998E-3</c:v>
                </c:pt>
                <c:pt idx="276">
                  <c:v>6.0128064959999996E-3</c:v>
                </c:pt>
                <c:pt idx="277">
                  <c:v>5.7624494709999996E-3</c:v>
                </c:pt>
                <c:pt idx="278">
                  <c:v>3.3420225919999999E-3</c:v>
                </c:pt>
                <c:pt idx="279">
                  <c:v>2.5405847649999998E-3</c:v>
                </c:pt>
                <c:pt idx="280">
                  <c:v>4.3771793150000002E-3</c:v>
                </c:pt>
                <c:pt idx="281">
                  <c:v>3.9201045360000002E-3</c:v>
                </c:pt>
                <c:pt idx="282">
                  <c:v>3.8922337770000001E-3</c:v>
                </c:pt>
                <c:pt idx="283">
                  <c:v>5.6002524049999997E-3</c:v>
                </c:pt>
                <c:pt idx="284">
                  <c:v>7.1863375039999998E-3</c:v>
                </c:pt>
                <c:pt idx="285">
                  <c:v>4.2776589530000002E-3</c:v>
                </c:pt>
                <c:pt idx="286">
                  <c:v>2.7401742260000001E-3</c:v>
                </c:pt>
                <c:pt idx="287">
                  <c:v>2.946568884E-3</c:v>
                </c:pt>
                <c:pt idx="288">
                  <c:v>2.307763315E-3</c:v>
                </c:pt>
                <c:pt idx="289">
                  <c:v>4.0312577520000004E-3</c:v>
                </c:pt>
                <c:pt idx="290">
                  <c:v>9.3654266949999999E-3</c:v>
                </c:pt>
                <c:pt idx="291">
                  <c:v>5.2617732170000004E-3</c:v>
                </c:pt>
                <c:pt idx="292">
                  <c:v>3.578194064E-3</c:v>
                </c:pt>
                <c:pt idx="293">
                  <c:v>2.5845550549999999E-3</c:v>
                </c:pt>
                <c:pt idx="294">
                  <c:v>2.672064777E-3</c:v>
                </c:pt>
                <c:pt idx="295">
                  <c:v>2.5120772939999998E-3</c:v>
                </c:pt>
                <c:pt idx="296">
                  <c:v>3.8364955350000001E-3</c:v>
                </c:pt>
                <c:pt idx="297">
                  <c:v>6.5324384779999996E-3</c:v>
                </c:pt>
                <c:pt idx="298">
                  <c:v>6.1266167460000001E-3</c:v>
                </c:pt>
                <c:pt idx="299">
                  <c:v>5.4095238090000001E-3</c:v>
                </c:pt>
                <c:pt idx="300">
                  <c:v>3.3568502500000001E-3</c:v>
                </c:pt>
                <c:pt idx="301">
                  <c:v>5.0075112659999999E-3</c:v>
                </c:pt>
                <c:pt idx="302">
                  <c:v>5.1632245159999998E-3</c:v>
                </c:pt>
                <c:pt idx="303">
                  <c:v>7.8263064879999997E-3</c:v>
                </c:pt>
                <c:pt idx="304">
                  <c:v>6.506825093E-3</c:v>
                </c:pt>
                <c:pt idx="305">
                  <c:v>5.7665539860000002E-3</c:v>
                </c:pt>
                <c:pt idx="306">
                  <c:v>4.7602046880000004E-3</c:v>
                </c:pt>
                <c:pt idx="307">
                  <c:v>7.8728461080000006E-3</c:v>
                </c:pt>
                <c:pt idx="308">
                  <c:v>1.2397899649E-2</c:v>
                </c:pt>
                <c:pt idx="309">
                  <c:v>8.1699346399999994E-3</c:v>
                </c:pt>
                <c:pt idx="310">
                  <c:v>8.5377508760000002E-3</c:v>
                </c:pt>
                <c:pt idx="311">
                  <c:v>1.6019292050000002E-2</c:v>
                </c:pt>
                <c:pt idx="312">
                  <c:v>1.1792686552E-2</c:v>
                </c:pt>
                <c:pt idx="313">
                  <c:v>9.7477490879999996E-3</c:v>
                </c:pt>
                <c:pt idx="314">
                  <c:v>9.2220828100000006E-3</c:v>
                </c:pt>
                <c:pt idx="315">
                  <c:v>1.1997363216E-2</c:v>
                </c:pt>
                <c:pt idx="316">
                  <c:v>8.6795937210000004E-3</c:v>
                </c:pt>
                <c:pt idx="317">
                  <c:v>1.6381572992999999E-2</c:v>
                </c:pt>
                <c:pt idx="318">
                  <c:v>2.125930941E-2</c:v>
                </c:pt>
                <c:pt idx="319">
                  <c:v>2.0661539885999999E-2</c:v>
                </c:pt>
                <c:pt idx="320">
                  <c:v>1.4586109877E-2</c:v>
                </c:pt>
                <c:pt idx="321">
                  <c:v>8.0714490399999995E-3</c:v>
                </c:pt>
                <c:pt idx="322">
                  <c:v>1.1898603206999999E-2</c:v>
                </c:pt>
                <c:pt idx="323">
                  <c:v>1.0747513634E-2</c:v>
                </c:pt>
                <c:pt idx="324">
                  <c:v>2.2483221476000001E-2</c:v>
                </c:pt>
                <c:pt idx="325">
                  <c:v>2.3579028083000001E-2</c:v>
                </c:pt>
                <c:pt idx="326">
                  <c:v>2.0445449798999999E-2</c:v>
                </c:pt>
                <c:pt idx="327">
                  <c:v>1.4E-2</c:v>
                </c:pt>
                <c:pt idx="328">
                  <c:v>8.9821671120000005E-3</c:v>
                </c:pt>
                <c:pt idx="329">
                  <c:v>1.7087224319000002E-2</c:v>
                </c:pt>
                <c:pt idx="330">
                  <c:v>1.2182566918E-2</c:v>
                </c:pt>
                <c:pt idx="331">
                  <c:v>2.0242914979E-2</c:v>
                </c:pt>
                <c:pt idx="332">
                  <c:v>2.6423625829999998E-2</c:v>
                </c:pt>
                <c:pt idx="333">
                  <c:v>1.9350380096E-2</c:v>
                </c:pt>
                <c:pt idx="334">
                  <c:v>2.3490831213999998E-2</c:v>
                </c:pt>
                <c:pt idx="335">
                  <c:v>1.6106742911000001E-2</c:v>
                </c:pt>
                <c:pt idx="336">
                  <c:v>2.2207084467999998E-2</c:v>
                </c:pt>
                <c:pt idx="337">
                  <c:v>2.0431893687000002E-2</c:v>
                </c:pt>
                <c:pt idx="338">
                  <c:v>2.468295174E-2</c:v>
                </c:pt>
                <c:pt idx="339">
                  <c:v>4.0798442063999997E-2</c:v>
                </c:pt>
                <c:pt idx="340">
                  <c:v>3.3950869173999997E-2</c:v>
                </c:pt>
                <c:pt idx="341">
                  <c:v>2.5117324343E-2</c:v>
                </c:pt>
                <c:pt idx="342">
                  <c:v>1.8418900889999999E-2</c:v>
                </c:pt>
                <c:pt idx="343">
                  <c:v>3.1357076108000002E-2</c:v>
                </c:pt>
                <c:pt idx="344">
                  <c:v>2.1070703917E-2</c:v>
                </c:pt>
                <c:pt idx="345">
                  <c:v>3.9948637465999998E-2</c:v>
                </c:pt>
                <c:pt idx="346">
                  <c:v>4.8169556840000002E-2</c:v>
                </c:pt>
                <c:pt idx="347">
                  <c:v>3.8037805867999999E-2</c:v>
                </c:pt>
                <c:pt idx="348">
                  <c:v>3.7960609910999997E-2</c:v>
                </c:pt>
                <c:pt idx="349">
                  <c:v>2.7387041773000002E-2</c:v>
                </c:pt>
                <c:pt idx="350">
                  <c:v>3.7037037037000002E-2</c:v>
                </c:pt>
                <c:pt idx="351">
                  <c:v>3.4390612292000002E-2</c:v>
                </c:pt>
                <c:pt idx="352">
                  <c:v>5.4304125129999999E-2</c:v>
                </c:pt>
                <c:pt idx="353">
                  <c:v>7.3019869724E-2</c:v>
                </c:pt>
                <c:pt idx="354">
                  <c:v>6.4433841938000003E-2</c:v>
                </c:pt>
                <c:pt idx="355">
                  <c:v>5.5121444243000001E-2</c:v>
                </c:pt>
                <c:pt idx="356">
                  <c:v>4.5689019896000001E-2</c:v>
                </c:pt>
                <c:pt idx="357">
                  <c:v>5.5462695637999999E-2</c:v>
                </c:pt>
                <c:pt idx="358">
                  <c:v>5.1857211770000002E-2</c:v>
                </c:pt>
                <c:pt idx="359">
                  <c:v>6.0814665499999997E-2</c:v>
                </c:pt>
                <c:pt idx="360">
                  <c:v>6.6224783861000003E-2</c:v>
                </c:pt>
                <c:pt idx="361">
                  <c:v>5.3574386521000002E-2</c:v>
                </c:pt>
                <c:pt idx="362">
                  <c:v>7.2682948851000004E-2</c:v>
                </c:pt>
                <c:pt idx="363">
                  <c:v>5.5035588184999998E-2</c:v>
                </c:pt>
                <c:pt idx="364">
                  <c:v>8.7548638132000006E-2</c:v>
                </c:pt>
                <c:pt idx="365">
                  <c:v>5.2400451011E-2</c:v>
                </c:pt>
                <c:pt idx="366">
                  <c:v>7.4664657120999997E-2</c:v>
                </c:pt>
                <c:pt idx="367">
                  <c:v>0.105886988212</c:v>
                </c:pt>
                <c:pt idx="368">
                  <c:v>0.12878316104099999</c:v>
                </c:pt>
                <c:pt idx="369">
                  <c:v>0.109701492537</c:v>
                </c:pt>
                <c:pt idx="370">
                  <c:v>8.6061200357000003E-2</c:v>
                </c:pt>
                <c:pt idx="371">
                  <c:v>8.8405797100999994E-2</c:v>
                </c:pt>
                <c:pt idx="372">
                  <c:v>7.7756104123000006E-2</c:v>
                </c:pt>
                <c:pt idx="373">
                  <c:v>9.8347182904999997E-2</c:v>
                </c:pt>
                <c:pt idx="374">
                  <c:v>0.13238843526899999</c:v>
                </c:pt>
                <c:pt idx="375">
                  <c:v>0.12868819509500001</c:v>
                </c:pt>
                <c:pt idx="376">
                  <c:v>9.4312697836000006E-2</c:v>
                </c:pt>
                <c:pt idx="377">
                  <c:v>0.102272260344</c:v>
                </c:pt>
                <c:pt idx="378">
                  <c:v>0.11879507848900001</c:v>
                </c:pt>
                <c:pt idx="379">
                  <c:v>0.120012230545</c:v>
                </c:pt>
                <c:pt idx="380">
                  <c:v>0.10055969286200001</c:v>
                </c:pt>
                <c:pt idx="381">
                  <c:v>0.149598123981</c:v>
                </c:pt>
                <c:pt idx="382">
                  <c:v>0.14798581273899999</c:v>
                </c:pt>
                <c:pt idx="383">
                  <c:v>0.120538603215</c:v>
                </c:pt>
                <c:pt idx="384">
                  <c:v>0.14003504858999999</c:v>
                </c:pt>
                <c:pt idx="385">
                  <c:v>0.13545316667499999</c:v>
                </c:pt>
                <c:pt idx="386">
                  <c:v>0.13346252685599999</c:v>
                </c:pt>
                <c:pt idx="387">
                  <c:v>0.116188789756</c:v>
                </c:pt>
                <c:pt idx="388">
                  <c:v>0.18064321608</c:v>
                </c:pt>
                <c:pt idx="389">
                  <c:v>0.131120943952</c:v>
                </c:pt>
                <c:pt idx="390">
                  <c:v>0.19867898533100001</c:v>
                </c:pt>
                <c:pt idx="391">
                  <c:v>0.14420573605600001</c:v>
                </c:pt>
                <c:pt idx="392">
                  <c:v>0.136002346385</c:v>
                </c:pt>
                <c:pt idx="393">
                  <c:v>0.14536442674899999</c:v>
                </c:pt>
                <c:pt idx="394">
                  <c:v>0.13735001824400001</c:v>
                </c:pt>
                <c:pt idx="395">
                  <c:v>0.14642989959</c:v>
                </c:pt>
                <c:pt idx="396">
                  <c:v>0.153510987623</c:v>
                </c:pt>
                <c:pt idx="397">
                  <c:v>0.134239208522</c:v>
                </c:pt>
                <c:pt idx="398">
                  <c:v>0.13083899758199999</c:v>
                </c:pt>
                <c:pt idx="399">
                  <c:v>0.127842726691</c:v>
                </c:pt>
                <c:pt idx="400">
                  <c:v>0.13177339901400001</c:v>
                </c:pt>
                <c:pt idx="401">
                  <c:v>0.13087088701800001</c:v>
                </c:pt>
                <c:pt idx="402">
                  <c:v>0.145307635002</c:v>
                </c:pt>
                <c:pt idx="403">
                  <c:v>0.14017731525900001</c:v>
                </c:pt>
                <c:pt idx="404">
                  <c:v>0.12704834200699999</c:v>
                </c:pt>
                <c:pt idx="405">
                  <c:v>0.111788664133</c:v>
                </c:pt>
                <c:pt idx="406">
                  <c:v>0.129070753383</c:v>
                </c:pt>
                <c:pt idx="407">
                  <c:v>0.12394061046300001</c:v>
                </c:pt>
                <c:pt idx="408">
                  <c:v>0.111919560467</c:v>
                </c:pt>
                <c:pt idx="409">
                  <c:v>0.140985124499</c:v>
                </c:pt>
                <c:pt idx="410">
                  <c:v>0.12580662084800001</c:v>
                </c:pt>
                <c:pt idx="411">
                  <c:v>0.100249414639</c:v>
                </c:pt>
                <c:pt idx="412">
                  <c:v>9.9327677284999999E-2</c:v>
                </c:pt>
                <c:pt idx="413">
                  <c:v>0.11522895008300001</c:v>
                </c:pt>
                <c:pt idx="414">
                  <c:v>0.12705201585000001</c:v>
                </c:pt>
                <c:pt idx="415">
                  <c:v>0.103585348855</c:v>
                </c:pt>
                <c:pt idx="416">
                  <c:v>0.14407790142999999</c:v>
                </c:pt>
              </c:numCache>
            </c:numRef>
          </c:val>
          <c:smooth val="0"/>
          <c:extLst>
            <c:ext xmlns:c16="http://schemas.microsoft.com/office/drawing/2014/chart" uri="{C3380CC4-5D6E-409C-BE32-E72D297353CC}">
              <c16:uniqueId val="{00000001-B2C4-4F8B-BFF0-E6161AC7AB47}"/>
            </c:ext>
          </c:extLst>
        </c:ser>
        <c:dLbls>
          <c:showLegendKey val="0"/>
          <c:showVal val="0"/>
          <c:showCatName val="0"/>
          <c:showSerName val="0"/>
          <c:showPercent val="0"/>
          <c:showBubbleSize val="0"/>
        </c:dLbls>
        <c:marker val="1"/>
        <c:smooth val="0"/>
        <c:axId val="414862472"/>
        <c:axId val="414859336"/>
      </c:lineChart>
      <c:dateAx>
        <c:axId val="414862472"/>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414859336"/>
        <c:crosses val="autoZero"/>
        <c:auto val="1"/>
        <c:lblOffset val="100"/>
        <c:baseTimeUnit val="days"/>
        <c:majorUnit val="5"/>
        <c:majorTimeUnit val="days"/>
        <c:minorUnit val="5"/>
        <c:minorTimeUnit val="days"/>
      </c:dateAx>
      <c:valAx>
        <c:axId val="414859336"/>
        <c:scaling>
          <c:orientation val="minMax"/>
          <c:max val="0.5"/>
        </c:scaling>
        <c:delete val="0"/>
        <c:axPos val="l"/>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48624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cs-CZ"/>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691743527347279E-2"/>
          <c:y val="3.1245307675528175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45</c:v>
                </c:pt>
                <c:pt idx="1">
                  <c:v>44</c:v>
                </c:pt>
                <c:pt idx="2">
                  <c:v>52</c:v>
                </c:pt>
                <c:pt idx="3">
                  <c:v>58</c:v>
                </c:pt>
                <c:pt idx="4">
                  <c:v>72</c:v>
                </c:pt>
                <c:pt idx="5">
                  <c:v>86</c:v>
                </c:pt>
                <c:pt idx="6">
                  <c:v>75</c:v>
                </c:pt>
                <c:pt idx="7">
                  <c:v>78</c:v>
                </c:pt>
                <c:pt idx="8">
                  <c:v>77</c:v>
                </c:pt>
                <c:pt idx="9">
                  <c:v>77</c:v>
                </c:pt>
                <c:pt idx="10">
                  <c:v>99</c:v>
                </c:pt>
                <c:pt idx="11">
                  <c:v>113</c:v>
                </c:pt>
                <c:pt idx="12">
                  <c:v>114</c:v>
                </c:pt>
                <c:pt idx="13">
                  <c:v>116</c:v>
                </c:pt>
                <c:pt idx="14">
                  <c:v>115</c:v>
                </c:pt>
                <c:pt idx="15">
                  <c:v>112</c:v>
                </c:pt>
                <c:pt idx="16">
                  <c:v>116</c:v>
                </c:pt>
                <c:pt idx="17">
                  <c:v>133</c:v>
                </c:pt>
                <c:pt idx="18">
                  <c:v>146</c:v>
                </c:pt>
                <c:pt idx="19">
                  <c:v>138</c:v>
                </c:pt>
                <c:pt idx="20">
                  <c:v>142</c:v>
                </c:pt>
                <c:pt idx="21">
                  <c:v>153</c:v>
                </c:pt>
                <c:pt idx="22">
                  <c:v>151</c:v>
                </c:pt>
                <c:pt idx="23">
                  <c:v>163</c:v>
                </c:pt>
                <c:pt idx="24">
                  <c:v>171</c:v>
                </c:pt>
                <c:pt idx="25">
                  <c:v>193</c:v>
                </c:pt>
                <c:pt idx="26">
                  <c:v>215</c:v>
                </c:pt>
                <c:pt idx="27">
                  <c:v>209</c:v>
                </c:pt>
                <c:pt idx="28">
                  <c:v>233</c:v>
                </c:pt>
                <c:pt idx="29">
                  <c:v>238</c:v>
                </c:pt>
                <c:pt idx="30">
                  <c:v>267</c:v>
                </c:pt>
                <c:pt idx="31">
                  <c:v>311</c:v>
                </c:pt>
                <c:pt idx="32">
                  <c:v>318</c:v>
                </c:pt>
                <c:pt idx="33">
                  <c:v>345</c:v>
                </c:pt>
                <c:pt idx="34">
                  <c:v>345</c:v>
                </c:pt>
                <c:pt idx="35">
                  <c:v>384</c:v>
                </c:pt>
                <c:pt idx="36">
                  <c:v>390</c:v>
                </c:pt>
                <c:pt idx="37">
                  <c:v>424</c:v>
                </c:pt>
                <c:pt idx="38">
                  <c:v>471</c:v>
                </c:pt>
                <c:pt idx="39">
                  <c:v>487</c:v>
                </c:pt>
                <c:pt idx="40">
                  <c:v>511</c:v>
                </c:pt>
                <c:pt idx="41">
                  <c:v>519</c:v>
                </c:pt>
                <c:pt idx="42">
                  <c:v>527</c:v>
                </c:pt>
                <c:pt idx="43">
                  <c:v>561</c:v>
                </c:pt>
                <c:pt idx="44">
                  <c:v>601</c:v>
                </c:pt>
                <c:pt idx="45">
                  <c:v>644</c:v>
                </c:pt>
                <c:pt idx="46">
                  <c:v>651</c:v>
                </c:pt>
                <c:pt idx="47">
                  <c:v>691</c:v>
                </c:pt>
                <c:pt idx="48">
                  <c:v>716</c:v>
                </c:pt>
                <c:pt idx="49">
                  <c:v>744</c:v>
                </c:pt>
                <c:pt idx="50">
                  <c:v>752</c:v>
                </c:pt>
                <c:pt idx="51">
                  <c:v>781</c:v>
                </c:pt>
                <c:pt idx="52">
                  <c:v>817</c:v>
                </c:pt>
                <c:pt idx="53">
                  <c:v>859</c:v>
                </c:pt>
                <c:pt idx="54">
                  <c:v>868</c:v>
                </c:pt>
                <c:pt idx="55">
                  <c:v>894</c:v>
                </c:pt>
                <c:pt idx="56">
                  <c:v>914</c:v>
                </c:pt>
                <c:pt idx="57">
                  <c:v>929</c:v>
                </c:pt>
                <c:pt idx="58">
                  <c:v>941</c:v>
                </c:pt>
                <c:pt idx="59">
                  <c:v>985</c:v>
                </c:pt>
                <c:pt idx="60">
                  <c:v>990</c:v>
                </c:pt>
                <c:pt idx="61">
                  <c:v>982</c:v>
                </c:pt>
                <c:pt idx="62">
                  <c:v>974</c:v>
                </c:pt>
                <c:pt idx="63">
                  <c:v>969</c:v>
                </c:pt>
                <c:pt idx="64">
                  <c:v>941</c:v>
                </c:pt>
                <c:pt idx="65">
                  <c:v>969</c:v>
                </c:pt>
                <c:pt idx="66">
                  <c:v>992</c:v>
                </c:pt>
                <c:pt idx="67">
                  <c:v>1000</c:v>
                </c:pt>
                <c:pt idx="68">
                  <c:v>1000</c:v>
                </c:pt>
                <c:pt idx="69">
                  <c:v>1012</c:v>
                </c:pt>
                <c:pt idx="70">
                  <c:v>982</c:v>
                </c:pt>
                <c:pt idx="71">
                  <c:v>964</c:v>
                </c:pt>
                <c:pt idx="72">
                  <c:v>980</c:v>
                </c:pt>
                <c:pt idx="73">
                  <c:v>999</c:v>
                </c:pt>
                <c:pt idx="74">
                  <c:v>972</c:v>
                </c:pt>
                <c:pt idx="75">
                  <c:v>936</c:v>
                </c:pt>
                <c:pt idx="76">
                  <c:v>884</c:v>
                </c:pt>
                <c:pt idx="77">
                  <c:v>864</c:v>
                </c:pt>
                <c:pt idx="78">
                  <c:v>808</c:v>
                </c:pt>
                <c:pt idx="79">
                  <c:v>817</c:v>
                </c:pt>
                <c:pt idx="80">
                  <c:v>878</c:v>
                </c:pt>
                <c:pt idx="81">
                  <c:v>864</c:v>
                </c:pt>
                <c:pt idx="82">
                  <c:v>806</c:v>
                </c:pt>
                <c:pt idx="83">
                  <c:v>764</c:v>
                </c:pt>
                <c:pt idx="84">
                  <c:v>694</c:v>
                </c:pt>
                <c:pt idx="85">
                  <c:v>686</c:v>
                </c:pt>
                <c:pt idx="86">
                  <c:v>703</c:v>
                </c:pt>
              </c:numCache>
            </c:numRef>
          </c:val>
          <c:extLst>
            <c:ext xmlns:c16="http://schemas.microsoft.com/office/drawing/2014/chart" uri="{C3380CC4-5D6E-409C-BE32-E72D297353CC}">
              <c16:uniqueId val="{00000000-EB57-42C8-9755-B78521217C6D}"/>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EB57-42C8-9755-B78521217C6D}"/>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538.34653645065316</c:v>
                </c:pt>
                <c:pt idx="43">
                  <c:v>566.3775340375945</c:v>
                </c:pt>
                <c:pt idx="44">
                  <c:v>593.53728122139341</c:v>
                </c:pt>
                <c:pt idx="45">
                  <c:v>619.29628634537175</c:v>
                </c:pt>
                <c:pt idx="46">
                  <c:v>644.79770503473469</c:v>
                </c:pt>
                <c:pt idx="47">
                  <c:v>670.44258291493816</c:v>
                </c:pt>
                <c:pt idx="48">
                  <c:v>695.53842156704866</c:v>
                </c:pt>
                <c:pt idx="49">
                  <c:v>719.85190196455505</c:v>
                </c:pt>
                <c:pt idx="50">
                  <c:v>742.00043602806977</c:v>
                </c:pt>
                <c:pt idx="51">
                  <c:v>763.64898141441938</c:v>
                </c:pt>
                <c:pt idx="52">
                  <c:v>784.57780034781422</c:v>
                </c:pt>
                <c:pt idx="53">
                  <c:v>805.25814425479871</c:v>
                </c:pt>
                <c:pt idx="54">
                  <c:v>824.18597696438064</c:v>
                </c:pt>
                <c:pt idx="55">
                  <c:v>842.13561239532044</c:v>
                </c:pt>
                <c:pt idx="56">
                  <c:v>859.80376950117602</c:v>
                </c:pt>
                <c:pt idx="57">
                  <c:v>876.3469461229945</c:v>
                </c:pt>
                <c:pt idx="58">
                  <c:v>891.94882551208582</c:v>
                </c:pt>
                <c:pt idx="59">
                  <c:v>906.52036102609327</c:v>
                </c:pt>
                <c:pt idx="60">
                  <c:v>920.58325715208446</c:v>
                </c:pt>
                <c:pt idx="61">
                  <c:v>933.55536588028576</c:v>
                </c:pt>
                <c:pt idx="62">
                  <c:v>945.42822341929059</c:v>
                </c:pt>
                <c:pt idx="63">
                  <c:v>956.48680799755061</c:v>
                </c:pt>
                <c:pt idx="64">
                  <c:v>966.9125289324586</c:v>
                </c:pt>
                <c:pt idx="65">
                  <c:v>976.23302503778336</c:v>
                </c:pt>
                <c:pt idx="66">
                  <c:v>984.51664838935426</c:v>
                </c:pt>
                <c:pt idx="67">
                  <c:v>991.93928923474482</c:v>
                </c:pt>
                <c:pt idx="68">
                  <c:v>998.55810901371024</c:v>
                </c:pt>
                <c:pt idx="69">
                  <c:v>1004.3210934838614</c:v>
                </c:pt>
                <c:pt idx="70">
                  <c:v>1009.1809084903009</c:v>
                </c:pt>
                <c:pt idx="71">
                  <c:v>1013.2878832646476</c:v>
                </c:pt>
                <c:pt idx="72">
                  <c:v>1016.4748329969788</c:v>
                </c:pt>
                <c:pt idx="73">
                  <c:v>1018.758024779135</c:v>
                </c:pt>
                <c:pt idx="74">
                  <c:v>1020.0411942973701</c:v>
                </c:pt>
                <c:pt idx="75">
                  <c:v>1020.4768913088465</c:v>
                </c:pt>
                <c:pt idx="76">
                  <c:v>1020.0732762357502</c:v>
                </c:pt>
                <c:pt idx="77">
                  <c:v>1018.8275369639043</c:v>
                </c:pt>
                <c:pt idx="78">
                  <c:v>1016.7053489876226</c:v>
                </c:pt>
                <c:pt idx="79">
                  <c:v>1013.683679369954</c:v>
                </c:pt>
                <c:pt idx="80">
                  <c:v>1009.8145291756862</c:v>
                </c:pt>
                <c:pt idx="81">
                  <c:v>1005.1240476885006</c:v>
                </c:pt>
                <c:pt idx="82">
                  <c:v>999.6221568242205</c:v>
                </c:pt>
                <c:pt idx="83">
                  <c:v>993.31067810810487</c:v>
                </c:pt>
                <c:pt idx="84">
                  <c:v>986.2174100277025</c:v>
                </c:pt>
                <c:pt idx="85">
                  <c:v>978.36798305022171</c:v>
                </c:pt>
                <c:pt idx="86">
                  <c:v>969.78903810151746</c:v>
                </c:pt>
                <c:pt idx="87">
                  <c:v>960.5030380806902</c:v>
                </c:pt>
                <c:pt idx="88">
                  <c:v>950.54002594936981</c:v>
                </c:pt>
                <c:pt idx="89">
                  <c:v>939.92643156297208</c:v>
                </c:pt>
                <c:pt idx="90">
                  <c:v>928.68679284497784</c:v>
                </c:pt>
                <c:pt idx="91">
                  <c:v>916.85197503342897</c:v>
                </c:pt>
                <c:pt idx="92">
                  <c:v>904.45639301939104</c:v>
                </c:pt>
                <c:pt idx="93">
                  <c:v>891.53295792184622</c:v>
                </c:pt>
                <c:pt idx="94">
                  <c:v>878.11396244792013</c:v>
                </c:pt>
                <c:pt idx="95">
                  <c:v>864.2330139271545</c:v>
                </c:pt>
              </c:numCache>
            </c:numRef>
          </c:val>
          <c:smooth val="0"/>
          <c:extLst>
            <c:ext xmlns:c16="http://schemas.microsoft.com/office/drawing/2014/chart" uri="{C3380CC4-5D6E-409C-BE32-E72D297353CC}">
              <c16:uniqueId val="{00000002-EB57-42C8-9755-B78521217C6D}"/>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539.42795017618585</c:v>
                </c:pt>
                <c:pt idx="43">
                  <c:v>568.97315736335486</c:v>
                </c:pt>
                <c:pt idx="44">
                  <c:v>598.1315041085453</c:v>
                </c:pt>
                <c:pt idx="45">
                  <c:v>626.41969743022628</c:v>
                </c:pt>
                <c:pt idx="46">
                  <c:v>655.01089073764501</c:v>
                </c:pt>
                <c:pt idx="47">
                  <c:v>684.35382358599531</c:v>
                </c:pt>
                <c:pt idx="48">
                  <c:v>713.76435200672961</c:v>
                </c:pt>
                <c:pt idx="49">
                  <c:v>743.03004175543219</c:v>
                </c:pt>
                <c:pt idx="50">
                  <c:v>770.766517488506</c:v>
                </c:pt>
                <c:pt idx="51">
                  <c:v>798.64187711591785</c:v>
                </c:pt>
                <c:pt idx="52">
                  <c:v>826.42985741506754</c:v>
                </c:pt>
                <c:pt idx="53">
                  <c:v>854.58263757347913</c:v>
                </c:pt>
                <c:pt idx="54">
                  <c:v>881.58054805199367</c:v>
                </c:pt>
                <c:pt idx="55">
                  <c:v>908.16769807312016</c:v>
                </c:pt>
                <c:pt idx="56">
                  <c:v>935.01565076027282</c:v>
                </c:pt>
                <c:pt idx="57">
                  <c:v>961.24569155628285</c:v>
                </c:pt>
                <c:pt idx="58">
                  <c:v>987.00108213151634</c:v>
                </c:pt>
                <c:pt idx="59">
                  <c:v>1012.1308299236841</c:v>
                </c:pt>
                <c:pt idx="60">
                  <c:v>1037.1199403648313</c:v>
                </c:pt>
                <c:pt idx="61">
                  <c:v>1061.3245002309607</c:v>
                </c:pt>
                <c:pt idx="62">
                  <c:v>1084.6898012894042</c:v>
                </c:pt>
                <c:pt idx="63">
                  <c:v>1107.4567573587524</c:v>
                </c:pt>
                <c:pt idx="64">
                  <c:v>1129.7496142613702</c:v>
                </c:pt>
                <c:pt idx="65">
                  <c:v>1151.0393588208663</c:v>
                </c:pt>
                <c:pt idx="66">
                  <c:v>1171.3422472676352</c:v>
                </c:pt>
                <c:pt idx="67">
                  <c:v>1190.7882001243631</c:v>
                </c:pt>
                <c:pt idx="68">
                  <c:v>1209.3825298062034</c:v>
                </c:pt>
                <c:pt idx="69">
                  <c:v>1227.0219736038248</c:v>
                </c:pt>
                <c:pt idx="70">
                  <c:v>1243.6064356066204</c:v>
                </c:pt>
                <c:pt idx="71">
                  <c:v>1259.2345301756518</c:v>
                </c:pt>
                <c:pt idx="72">
                  <c:v>1273.6862264634728</c:v>
                </c:pt>
                <c:pt idx="73">
                  <c:v>1286.9321870926633</c:v>
                </c:pt>
                <c:pt idx="74">
                  <c:v>1298.8300724689871</c:v>
                </c:pt>
                <c:pt idx="75">
                  <c:v>1309.4916527318251</c:v>
                </c:pt>
                <c:pt idx="76">
                  <c:v>1318.8845836412895</c:v>
                </c:pt>
                <c:pt idx="77">
                  <c:v>1326.9681222485583</c:v>
                </c:pt>
                <c:pt idx="78">
                  <c:v>1333.6690666647505</c:v>
                </c:pt>
                <c:pt idx="79">
                  <c:v>1338.930546977155</c:v>
                </c:pt>
                <c:pt idx="80">
                  <c:v>1342.7774565222339</c:v>
                </c:pt>
                <c:pt idx="81">
                  <c:v>1345.2098877066833</c:v>
                </c:pt>
                <c:pt idx="82">
                  <c:v>1346.2151346762907</c:v>
                </c:pt>
                <c:pt idx="83">
                  <c:v>1345.7758817215599</c:v>
                </c:pt>
                <c:pt idx="84">
                  <c:v>1343.904277604388</c:v>
                </c:pt>
                <c:pt idx="85">
                  <c:v>1340.613916579005</c:v>
                </c:pt>
                <c:pt idx="86">
                  <c:v>1335.9229836655982</c:v>
                </c:pt>
                <c:pt idx="87">
                  <c:v>1329.8490735910939</c:v>
                </c:pt>
                <c:pt idx="88">
                  <c:v>1322.4208701280554</c:v>
                </c:pt>
                <c:pt idx="89">
                  <c:v>1313.6668531908967</c:v>
                </c:pt>
                <c:pt idx="90">
                  <c:v>1303.6168668083906</c:v>
                </c:pt>
                <c:pt idx="91">
                  <c:v>1292.3102075588404</c:v>
                </c:pt>
                <c:pt idx="92">
                  <c:v>1279.7927303310021</c:v>
                </c:pt>
                <c:pt idx="93">
                  <c:v>1266.1116307990249</c:v>
                </c:pt>
                <c:pt idx="94">
                  <c:v>1251.3161224681357</c:v>
                </c:pt>
                <c:pt idx="95">
                  <c:v>1235.4590754803744</c:v>
                </c:pt>
              </c:numCache>
            </c:numRef>
          </c:val>
          <c:smooth val="0"/>
          <c:extLst>
            <c:ext xmlns:c16="http://schemas.microsoft.com/office/drawing/2014/chart" uri="{C3380CC4-5D6E-409C-BE32-E72D297353CC}">
              <c16:uniqueId val="{00000003-EB57-42C8-9755-B78521217C6D}"/>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540.51549826427538</c:v>
                </c:pt>
                <c:pt idx="43">
                  <c:v>571.5910858627758</c:v>
                </c:pt>
                <c:pt idx="44">
                  <c:v>602.78128618527444</c:v>
                </c:pt>
                <c:pt idx="45">
                  <c:v>633.65767568492367</c:v>
                </c:pt>
                <c:pt idx="46">
                  <c:v>665.43341592890374</c:v>
                </c:pt>
                <c:pt idx="47">
                  <c:v>698.61618345308102</c:v>
                </c:pt>
                <c:pt idx="48">
                  <c:v>732.54225933768271</c:v>
                </c:pt>
                <c:pt idx="49">
                  <c:v>767.03291820809523</c:v>
                </c:pt>
                <c:pt idx="50">
                  <c:v>800.71516712438824</c:v>
                </c:pt>
                <c:pt idx="51">
                  <c:v>835.27358124687066</c:v>
                </c:pt>
                <c:pt idx="52">
                  <c:v>870.48853065666231</c:v>
                </c:pt>
                <c:pt idx="53">
                  <c:v>906.80570036789447</c:v>
                </c:pt>
                <c:pt idx="54">
                  <c:v>942.70150185963507</c:v>
                </c:pt>
                <c:pt idx="55">
                  <c:v>978.9003239243392</c:v>
                </c:pt>
                <c:pt idx="56">
                  <c:v>1016.0577294254427</c:v>
                </c:pt>
                <c:pt idx="57">
                  <c:v>1053.2672304785012</c:v>
                </c:pt>
                <c:pt idx="58">
                  <c:v>1090.637222738329</c:v>
                </c:pt>
                <c:pt idx="59">
                  <c:v>1127.9581155742762</c:v>
                </c:pt>
                <c:pt idx="60">
                  <c:v>1165.6791847393633</c:v>
                </c:pt>
                <c:pt idx="61">
                  <c:v>1203.0930349235341</c:v>
                </c:pt>
                <c:pt idx="62">
                  <c:v>1240.0942579410014</c:v>
                </c:pt>
                <c:pt idx="63">
                  <c:v>1276.8724773822505</c:v>
                </c:pt>
                <c:pt idx="64">
                  <c:v>1313.4847162796664</c:v>
                </c:pt>
                <c:pt idx="65">
                  <c:v>1349.3326589612561</c:v>
                </c:pt>
                <c:pt idx="66">
                  <c:v>1384.3653204047293</c:v>
                </c:pt>
                <c:pt idx="67">
                  <c:v>1418.648935416436</c:v>
                </c:pt>
                <c:pt idx="68">
                  <c:v>1452.1168655310275</c:v>
                </c:pt>
                <c:pt idx="69">
                  <c:v>1484.5923372331545</c:v>
                </c:pt>
                <c:pt idx="70">
                  <c:v>1515.8983249539224</c:v>
                </c:pt>
                <c:pt idx="71">
                  <c:v>1546.0559322987924</c:v>
                </c:pt>
                <c:pt idx="72">
                  <c:v>1574.7652533883713</c:v>
                </c:pt>
                <c:pt idx="73">
                  <c:v>1601.9234507262049</c:v>
                </c:pt>
                <c:pt idx="74">
                  <c:v>1627.313656451023</c:v>
                </c:pt>
                <c:pt idx="75">
                  <c:v>1650.9782259636629</c:v>
                </c:pt>
                <c:pt idx="76">
                  <c:v>1672.8158770640275</c:v>
                </c:pt>
                <c:pt idx="77">
                  <c:v>1692.7200867042798</c:v>
                </c:pt>
                <c:pt idx="78">
                  <c:v>1710.5518765775907</c:v>
                </c:pt>
                <c:pt idx="79">
                  <c:v>1726.1949688739619</c:v>
                </c:pt>
                <c:pt idx="80">
                  <c:v>1739.6232706404064</c:v>
                </c:pt>
                <c:pt idx="81">
                  <c:v>1750.7889331175338</c:v>
                </c:pt>
                <c:pt idx="82">
                  <c:v>1759.6370090297041</c:v>
                </c:pt>
                <c:pt idx="83">
                  <c:v>1766.1139568243143</c:v>
                </c:pt>
                <c:pt idx="84">
                  <c:v>1770.2019250764154</c:v>
                </c:pt>
                <c:pt idx="85">
                  <c:v>1771.8910267806193</c:v>
                </c:pt>
                <c:pt idx="86">
                  <c:v>1771.1825775644397</c:v>
                </c:pt>
                <c:pt idx="87">
                  <c:v>1768.0840056424856</c:v>
                </c:pt>
                <c:pt idx="88">
                  <c:v>1762.6204862582392</c:v>
                </c:pt>
                <c:pt idx="89">
                  <c:v>1754.823532372196</c:v>
                </c:pt>
                <c:pt idx="90">
                  <c:v>1744.7323500935113</c:v>
                </c:pt>
                <c:pt idx="91">
                  <c:v>1732.4017006102067</c:v>
                </c:pt>
                <c:pt idx="92">
                  <c:v>1717.8987505964114</c:v>
                </c:pt>
                <c:pt idx="93">
                  <c:v>1701.2975179488428</c:v>
                </c:pt>
                <c:pt idx="94">
                  <c:v>1682.6791354108339</c:v>
                </c:pt>
                <c:pt idx="95">
                  <c:v>1662.1330535980026</c:v>
                </c:pt>
              </c:numCache>
            </c:numRef>
          </c:val>
          <c:smooth val="0"/>
          <c:extLst>
            <c:ext xmlns:c16="http://schemas.microsoft.com/office/drawing/2014/chart" uri="{C3380CC4-5D6E-409C-BE32-E72D297353CC}">
              <c16:uniqueId val="{00000004-EB57-42C8-9755-B78521217C6D}"/>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EB57-42C8-9755-B78521217C6D}"/>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a:solidFill>
              <a:schemeClr val="tx1"/>
            </a:solidFill>
          </a:ln>
          <a:effectLst/>
        </c:spPr>
        <c:txPr>
          <a:bodyPr rot="-60000000" vert="horz"/>
          <a:lstStyle/>
          <a:p>
            <a:pPr>
              <a:defRPr sz="1200"/>
            </a:pPr>
            <a:endParaRPr lang="cs-CZ"/>
          </a:p>
        </c:txPr>
        <c:crossAx val="298003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cs-CZ"/>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36549528083226"/>
          <c:y val="0.15289779551144775"/>
          <c:w val="0.72027953981972681"/>
          <c:h val="0.78320405517643987"/>
        </c:manualLayout>
      </c:layout>
      <c:barChart>
        <c:barDir val="bar"/>
        <c:grouping val="stacked"/>
        <c:varyColors val="0"/>
        <c:ser>
          <c:idx val="0"/>
          <c:order val="0"/>
          <c:tx>
            <c:strRef>
              <c:f>List1!$B$1</c:f>
              <c:strCache>
                <c:ptCount val="1"/>
                <c:pt idx="0">
                  <c:v>S posilující dávkou</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CELKEM celá populace</c:v>
                </c:pt>
                <c:pt idx="1">
                  <c:v>18 a více let CELKEM</c:v>
                </c:pt>
                <c:pt idx="2">
                  <c:v>16 a více let CELKEM</c:v>
                </c:pt>
                <c:pt idx="3">
                  <c:v>12 a více let CELKEM</c:v>
                </c:pt>
                <c:pt idx="4">
                  <c:v>80 a více let</c:v>
                </c:pt>
                <c:pt idx="5">
                  <c:v>70–79 let</c:v>
                </c:pt>
                <c:pt idx="6">
                  <c:v>65–69 let</c:v>
                </c:pt>
                <c:pt idx="7">
                  <c:v>60–64 let</c:v>
                </c:pt>
                <c:pt idx="8">
                  <c:v>55–59 let</c:v>
                </c:pt>
                <c:pt idx="9">
                  <c:v>50–54 let</c:v>
                </c:pt>
                <c:pt idx="10">
                  <c:v>45–49 let</c:v>
                </c:pt>
                <c:pt idx="11">
                  <c:v>40–44 let</c:v>
                </c:pt>
                <c:pt idx="12">
                  <c:v>35–39 let</c:v>
                </c:pt>
                <c:pt idx="13">
                  <c:v>30–34 let</c:v>
                </c:pt>
                <c:pt idx="14">
                  <c:v>16–29 let</c:v>
                </c:pt>
                <c:pt idx="15">
                  <c:v>12–15 let</c:v>
                </c:pt>
                <c:pt idx="16">
                  <c:v>5–11 let</c:v>
                </c:pt>
              </c:strCache>
            </c:strRef>
          </c:cat>
          <c:val>
            <c:numRef>
              <c:f>List1!$B$2:$B$18</c:f>
              <c:numCache>
                <c:formatCode>General</c:formatCode>
                <c:ptCount val="17"/>
                <c:pt idx="0">
                  <c:v>20.429307999999999</c:v>
                </c:pt>
                <c:pt idx="1">
                  <c:v>25.172875000000001</c:v>
                </c:pt>
                <c:pt idx="2">
                  <c:v>24.625226999999999</c:v>
                </c:pt>
                <c:pt idx="3">
                  <c:v>23.421272999999999</c:v>
                </c:pt>
                <c:pt idx="4">
                  <c:v>64.562952999999993</c:v>
                </c:pt>
                <c:pt idx="5">
                  <c:v>63.210411000000001</c:v>
                </c:pt>
                <c:pt idx="6">
                  <c:v>51.336817000000003</c:v>
                </c:pt>
                <c:pt idx="7">
                  <c:v>41.252828000000001</c:v>
                </c:pt>
                <c:pt idx="8">
                  <c:v>27.735232</c:v>
                </c:pt>
                <c:pt idx="9">
                  <c:v>18.612090999999999</c:v>
                </c:pt>
                <c:pt idx="10">
                  <c:v>14.987435</c:v>
                </c:pt>
                <c:pt idx="11">
                  <c:v>8.0787309</c:v>
                </c:pt>
                <c:pt idx="12">
                  <c:v>5.9153602000000003</c:v>
                </c:pt>
                <c:pt idx="13">
                  <c:v>4.4283805000000003</c:v>
                </c:pt>
                <c:pt idx="14">
                  <c:v>2.8633402000000001</c:v>
                </c:pt>
                <c:pt idx="15">
                  <c:v>5.6956999999999997E-3</c:v>
                </c:pt>
                <c:pt idx="16">
                  <c:v>0</c:v>
                </c:pt>
              </c:numCache>
            </c:numRef>
          </c:val>
          <c:extLst>
            <c:ext xmlns:c16="http://schemas.microsoft.com/office/drawing/2014/chart" uri="{C3380CC4-5D6E-409C-BE32-E72D297353CC}">
              <c16:uniqueId val="{00000000-5B6C-43B5-BDA2-1A9D94418370}"/>
            </c:ext>
          </c:extLst>
        </c:ser>
        <c:ser>
          <c:idx val="1"/>
          <c:order val="1"/>
          <c:tx>
            <c:strRef>
              <c:f>List1!$C$1</c:f>
              <c:strCache>
                <c:ptCount val="1"/>
                <c:pt idx="0">
                  <c:v>S ukončovací dávkou</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CELKEM celá populace</c:v>
                </c:pt>
                <c:pt idx="1">
                  <c:v>18 a více let CELKEM</c:v>
                </c:pt>
                <c:pt idx="2">
                  <c:v>16 a více let CELKEM</c:v>
                </c:pt>
                <c:pt idx="3">
                  <c:v>12 a více let CELKEM</c:v>
                </c:pt>
                <c:pt idx="4">
                  <c:v>80 a více let</c:v>
                </c:pt>
                <c:pt idx="5">
                  <c:v>70–79 let</c:v>
                </c:pt>
                <c:pt idx="6">
                  <c:v>65–69 let</c:v>
                </c:pt>
                <c:pt idx="7">
                  <c:v>60–64 let</c:v>
                </c:pt>
                <c:pt idx="8">
                  <c:v>55–59 let</c:v>
                </c:pt>
                <c:pt idx="9">
                  <c:v>50–54 let</c:v>
                </c:pt>
                <c:pt idx="10">
                  <c:v>45–49 let</c:v>
                </c:pt>
                <c:pt idx="11">
                  <c:v>40–44 let</c:v>
                </c:pt>
                <c:pt idx="12">
                  <c:v>35–39 let</c:v>
                </c:pt>
                <c:pt idx="13">
                  <c:v>30–34 let</c:v>
                </c:pt>
                <c:pt idx="14">
                  <c:v>16–29 let</c:v>
                </c:pt>
                <c:pt idx="15">
                  <c:v>12–15 let</c:v>
                </c:pt>
                <c:pt idx="16">
                  <c:v>5–11 let</c:v>
                </c:pt>
              </c:strCache>
            </c:strRef>
          </c:cat>
          <c:val>
            <c:numRef>
              <c:f>List1!$C$2:$C$18</c:f>
              <c:numCache>
                <c:formatCode>General</c:formatCode>
                <c:ptCount val="17"/>
                <c:pt idx="0">
                  <c:v>41.377305999999997</c:v>
                </c:pt>
                <c:pt idx="1">
                  <c:v>47.365363000000002</c:v>
                </c:pt>
                <c:pt idx="2">
                  <c:v>47.695068999999997</c:v>
                </c:pt>
                <c:pt idx="3">
                  <c:v>47.437199999999997</c:v>
                </c:pt>
                <c:pt idx="4">
                  <c:v>23.536733000000002</c:v>
                </c:pt>
                <c:pt idx="5">
                  <c:v>25.761524000000001</c:v>
                </c:pt>
                <c:pt idx="6">
                  <c:v>31.372152</c:v>
                </c:pt>
                <c:pt idx="7">
                  <c:v>35.512777999999997</c:v>
                </c:pt>
                <c:pt idx="8">
                  <c:v>48.105587999999997</c:v>
                </c:pt>
                <c:pt idx="9">
                  <c:v>55.916148999999997</c:v>
                </c:pt>
                <c:pt idx="10">
                  <c:v>58.871543000000003</c:v>
                </c:pt>
                <c:pt idx="11">
                  <c:v>58.077891000000001</c:v>
                </c:pt>
                <c:pt idx="12">
                  <c:v>55.524949999999997</c:v>
                </c:pt>
                <c:pt idx="13">
                  <c:v>54.299647999999998</c:v>
                </c:pt>
                <c:pt idx="14">
                  <c:v>58.762461999999999</c:v>
                </c:pt>
                <c:pt idx="15">
                  <c:v>42.421487999999997</c:v>
                </c:pt>
                <c:pt idx="16">
                  <c:v>2.5000000000000001E-4</c:v>
                </c:pt>
              </c:numCache>
            </c:numRef>
          </c:val>
          <c:extLst>
            <c:ext xmlns:c16="http://schemas.microsoft.com/office/drawing/2014/chart" uri="{C3380CC4-5D6E-409C-BE32-E72D297353CC}">
              <c16:uniqueId val="{00000001-5B6C-43B5-BDA2-1A9D94418370}"/>
            </c:ext>
          </c:extLst>
        </c:ser>
        <c:ser>
          <c:idx val="2"/>
          <c:order val="2"/>
          <c:tx>
            <c:strRef>
              <c:f>List1!$D$1</c:f>
              <c:strCache>
                <c:ptCount val="1"/>
                <c:pt idx="0">
                  <c:v>Pouze s 1. dávkou</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CELKEM celá populace</c:v>
                </c:pt>
                <c:pt idx="1">
                  <c:v>18 a více let CELKEM</c:v>
                </c:pt>
                <c:pt idx="2">
                  <c:v>16 a více let CELKEM</c:v>
                </c:pt>
                <c:pt idx="3">
                  <c:v>12 a více let CELKEM</c:v>
                </c:pt>
                <c:pt idx="4">
                  <c:v>80 a více let</c:v>
                </c:pt>
                <c:pt idx="5">
                  <c:v>70–79 let</c:v>
                </c:pt>
                <c:pt idx="6">
                  <c:v>65–69 let</c:v>
                </c:pt>
                <c:pt idx="7">
                  <c:v>60–64 let</c:v>
                </c:pt>
                <c:pt idx="8">
                  <c:v>55–59 let</c:v>
                </c:pt>
                <c:pt idx="9">
                  <c:v>50–54 let</c:v>
                </c:pt>
                <c:pt idx="10">
                  <c:v>45–49 let</c:v>
                </c:pt>
                <c:pt idx="11">
                  <c:v>40–44 let</c:v>
                </c:pt>
                <c:pt idx="12">
                  <c:v>35–39 let</c:v>
                </c:pt>
                <c:pt idx="13">
                  <c:v>30–34 let</c:v>
                </c:pt>
                <c:pt idx="14">
                  <c:v>16–29 let</c:v>
                </c:pt>
                <c:pt idx="15">
                  <c:v>12–15 let</c:v>
                </c:pt>
                <c:pt idx="16">
                  <c:v>5–11 let</c:v>
                </c:pt>
              </c:strCache>
            </c:strRef>
          </c:cat>
          <c:val>
            <c:numRef>
              <c:f>List1!$D$2:$D$18</c:f>
              <c:numCache>
                <c:formatCode>General</c:formatCode>
                <c:ptCount val="17"/>
                <c:pt idx="0">
                  <c:v>1.7243489999999999</c:v>
                </c:pt>
                <c:pt idx="1">
                  <c:v>1.7307969999999999</c:v>
                </c:pt>
                <c:pt idx="2">
                  <c:v>1.766532</c:v>
                </c:pt>
                <c:pt idx="3">
                  <c:v>1.976888</c:v>
                </c:pt>
                <c:pt idx="4">
                  <c:v>2.249031</c:v>
                </c:pt>
                <c:pt idx="5">
                  <c:v>1.2528189999999999</c:v>
                </c:pt>
                <c:pt idx="6">
                  <c:v>1.0890550000000001</c:v>
                </c:pt>
                <c:pt idx="7">
                  <c:v>1.1541809999999999</c:v>
                </c:pt>
                <c:pt idx="8">
                  <c:v>1.241241</c:v>
                </c:pt>
                <c:pt idx="9">
                  <c:v>1.3089599999999999</c:v>
                </c:pt>
                <c:pt idx="10">
                  <c:v>1.383888</c:v>
                </c:pt>
                <c:pt idx="11">
                  <c:v>1.5561039999999999</c:v>
                </c:pt>
                <c:pt idx="12">
                  <c:v>2.100994</c:v>
                </c:pt>
                <c:pt idx="13">
                  <c:v>2.542942</c:v>
                </c:pt>
                <c:pt idx="14">
                  <c:v>2.8030210000000002</c:v>
                </c:pt>
                <c:pt idx="15">
                  <c:v>4.1595839999999997</c:v>
                </c:pt>
                <c:pt idx="16">
                  <c:v>1.0892139999999999</c:v>
                </c:pt>
              </c:numCache>
            </c:numRef>
          </c:val>
          <c:extLst>
            <c:ext xmlns:c16="http://schemas.microsoft.com/office/drawing/2014/chart" uri="{C3380CC4-5D6E-409C-BE32-E72D297353CC}">
              <c16:uniqueId val="{00000002-5B6C-43B5-BDA2-1A9D94418370}"/>
            </c:ext>
          </c:extLst>
        </c:ser>
        <c:ser>
          <c:idx val="3"/>
          <c:order val="3"/>
          <c:tx>
            <c:strRef>
              <c:f>List1!$E$1</c:f>
              <c:strCache>
                <c:ptCount val="1"/>
                <c:pt idx="0">
                  <c:v>Prodělali onemocnění</c:v>
                </c:pt>
              </c:strCache>
            </c:strRef>
          </c:tx>
          <c:spPr>
            <a:solidFill>
              <a:schemeClr val="accent4">
                <a:lumMod val="20000"/>
                <a:lumOff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CELKEM celá populace</c:v>
                </c:pt>
                <c:pt idx="1">
                  <c:v>18 a více let CELKEM</c:v>
                </c:pt>
                <c:pt idx="2">
                  <c:v>16 a více let CELKEM</c:v>
                </c:pt>
                <c:pt idx="3">
                  <c:v>12 a více let CELKEM</c:v>
                </c:pt>
                <c:pt idx="4">
                  <c:v>80 a více let</c:v>
                </c:pt>
                <c:pt idx="5">
                  <c:v>70–79 let</c:v>
                </c:pt>
                <c:pt idx="6">
                  <c:v>65–69 let</c:v>
                </c:pt>
                <c:pt idx="7">
                  <c:v>60–64 let</c:v>
                </c:pt>
                <c:pt idx="8">
                  <c:v>55–59 let</c:v>
                </c:pt>
                <c:pt idx="9">
                  <c:v>50–54 let</c:v>
                </c:pt>
                <c:pt idx="10">
                  <c:v>45–49 let</c:v>
                </c:pt>
                <c:pt idx="11">
                  <c:v>40–44 let</c:v>
                </c:pt>
                <c:pt idx="12">
                  <c:v>35–39 let</c:v>
                </c:pt>
                <c:pt idx="13">
                  <c:v>30–34 let</c:v>
                </c:pt>
                <c:pt idx="14">
                  <c:v>16–29 let</c:v>
                </c:pt>
                <c:pt idx="15">
                  <c:v>12–15 let</c:v>
                </c:pt>
                <c:pt idx="16">
                  <c:v>5–11 let</c:v>
                </c:pt>
              </c:strCache>
            </c:strRef>
          </c:cat>
          <c:val>
            <c:numRef>
              <c:f>List1!$E$2:$E$18</c:f>
              <c:numCache>
                <c:formatCode>General</c:formatCode>
                <c:ptCount val="17"/>
                <c:pt idx="0">
                  <c:v>9.3891416000000003</c:v>
                </c:pt>
                <c:pt idx="1">
                  <c:v>7.0740771000000002</c:v>
                </c:pt>
                <c:pt idx="2">
                  <c:v>7.2181652999999999</c:v>
                </c:pt>
                <c:pt idx="3">
                  <c:v>10.764224</c:v>
                </c:pt>
                <c:pt idx="4">
                  <c:v>4.1092585000000001</c:v>
                </c:pt>
                <c:pt idx="5">
                  <c:v>2.4860888999999999</c:v>
                </c:pt>
                <c:pt idx="6">
                  <c:v>2.7842799999999999</c:v>
                </c:pt>
                <c:pt idx="7">
                  <c:v>4.2493185000000002</c:v>
                </c:pt>
                <c:pt idx="8">
                  <c:v>6.1832102999999998</c:v>
                </c:pt>
                <c:pt idx="9">
                  <c:v>7.2002929</c:v>
                </c:pt>
                <c:pt idx="10">
                  <c:v>8.2557393999999995</c:v>
                </c:pt>
                <c:pt idx="11">
                  <c:v>8.7067247000000005</c:v>
                </c:pt>
                <c:pt idx="12">
                  <c:v>9.8849079</c:v>
                </c:pt>
                <c:pt idx="13">
                  <c:v>10.315037</c:v>
                </c:pt>
                <c:pt idx="14">
                  <c:v>10.831925999999999</c:v>
                </c:pt>
                <c:pt idx="15">
                  <c:v>19.930644000000001</c:v>
                </c:pt>
                <c:pt idx="16">
                  <c:v>26.187389</c:v>
                </c:pt>
              </c:numCache>
            </c:numRef>
          </c:val>
          <c:extLst>
            <c:ext xmlns:c16="http://schemas.microsoft.com/office/drawing/2014/chart" uri="{C3380CC4-5D6E-409C-BE32-E72D297353CC}">
              <c16:uniqueId val="{00000003-5B6C-43B5-BDA2-1A9D94418370}"/>
            </c:ext>
          </c:extLst>
        </c:ser>
        <c:ser>
          <c:idx val="4"/>
          <c:order val="4"/>
          <c:tx>
            <c:strRef>
              <c:f>List1!$F$1</c:f>
              <c:strCache>
                <c:ptCount val="1"/>
                <c:pt idx="0">
                  <c:v>Mají rezervaci termínu</c:v>
                </c:pt>
              </c:strCache>
            </c:strRef>
          </c:tx>
          <c:spPr>
            <a:solidFill>
              <a:schemeClr val="bg1">
                <a:lumMod val="50000"/>
              </a:schemeClr>
            </a:solidFill>
            <a:ln>
              <a:noFill/>
            </a:ln>
            <a:effectLst/>
          </c:spPr>
          <c:invertIfNegative val="0"/>
          <c:dLbls>
            <c:numFmt formatCode="#,##0.0" sourceLinked="0"/>
            <c:spPr>
              <a:noFill/>
              <a:ln>
                <a:noFill/>
              </a:ln>
              <a:effectLst/>
            </c:spPr>
            <c:txPr>
              <a:bodyPr rot="-5400000" spcFirstLastPara="1" vertOverflow="ellipsis" wrap="square" lIns="38100" tIns="19050" rIns="38100" bIns="19050" anchor="ctr" anchorCtr="1">
                <a:spAutoFit/>
              </a:bodyPr>
              <a:lstStyle/>
              <a:p>
                <a:pPr>
                  <a:defRPr sz="6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CELKEM celá populace</c:v>
                </c:pt>
                <c:pt idx="1">
                  <c:v>18 a více let CELKEM</c:v>
                </c:pt>
                <c:pt idx="2">
                  <c:v>16 a více let CELKEM</c:v>
                </c:pt>
                <c:pt idx="3">
                  <c:v>12 a více let CELKEM</c:v>
                </c:pt>
                <c:pt idx="4">
                  <c:v>80 a více let</c:v>
                </c:pt>
                <c:pt idx="5">
                  <c:v>70–79 let</c:v>
                </c:pt>
                <c:pt idx="6">
                  <c:v>65–69 let</c:v>
                </c:pt>
                <c:pt idx="7">
                  <c:v>60–64 let</c:v>
                </c:pt>
                <c:pt idx="8">
                  <c:v>55–59 let</c:v>
                </c:pt>
                <c:pt idx="9">
                  <c:v>50–54 let</c:v>
                </c:pt>
                <c:pt idx="10">
                  <c:v>45–49 let</c:v>
                </c:pt>
                <c:pt idx="11">
                  <c:v>40–44 let</c:v>
                </c:pt>
                <c:pt idx="12">
                  <c:v>35–39 let</c:v>
                </c:pt>
                <c:pt idx="13">
                  <c:v>30–34 let</c:v>
                </c:pt>
                <c:pt idx="14">
                  <c:v>16–29 let</c:v>
                </c:pt>
                <c:pt idx="15">
                  <c:v>12–15 let</c:v>
                </c:pt>
                <c:pt idx="16">
                  <c:v>5–11 let</c:v>
                </c:pt>
              </c:strCache>
            </c:strRef>
          </c:cat>
          <c:val>
            <c:numRef>
              <c:f>List1!$F$2:$F$18</c:f>
              <c:numCache>
                <c:formatCode>General</c:formatCode>
                <c:ptCount val="17"/>
                <c:pt idx="0">
                  <c:v>0.400868</c:v>
                </c:pt>
                <c:pt idx="1">
                  <c:v>0.24423110000000001</c:v>
                </c:pt>
                <c:pt idx="2">
                  <c:v>0.25684309999999999</c:v>
                </c:pt>
                <c:pt idx="3">
                  <c:v>0.45957690000000001</c:v>
                </c:pt>
                <c:pt idx="4">
                  <c:v>6.8375900000000003E-2</c:v>
                </c:pt>
                <c:pt idx="5">
                  <c:v>6.6353499999999996E-2</c:v>
                </c:pt>
                <c:pt idx="6">
                  <c:v>7.1086700000000003E-2</c:v>
                </c:pt>
                <c:pt idx="7">
                  <c:v>9.4489699999999996E-2</c:v>
                </c:pt>
                <c:pt idx="8">
                  <c:v>0.12721489999999999</c:v>
                </c:pt>
                <c:pt idx="9">
                  <c:v>0.155553</c:v>
                </c:pt>
                <c:pt idx="10">
                  <c:v>0.19159609999999999</c:v>
                </c:pt>
                <c:pt idx="11">
                  <c:v>0.24739149999999999</c:v>
                </c:pt>
                <c:pt idx="12">
                  <c:v>0.36943619999999999</c:v>
                </c:pt>
                <c:pt idx="13">
                  <c:v>0.46986430000000001</c:v>
                </c:pt>
                <c:pt idx="14">
                  <c:v>0.58905379999999996</c:v>
                </c:pt>
                <c:pt idx="15">
                  <c:v>1.3089063000000001</c:v>
                </c:pt>
                <c:pt idx="16">
                  <c:v>1.7655965</c:v>
                </c:pt>
              </c:numCache>
            </c:numRef>
          </c:val>
          <c:extLst>
            <c:ext xmlns:c16="http://schemas.microsoft.com/office/drawing/2014/chart" uri="{C3380CC4-5D6E-409C-BE32-E72D297353CC}">
              <c16:uniqueId val="{0000000F-5B6C-43B5-BDA2-1A9D94418370}"/>
            </c:ext>
          </c:extLst>
        </c:ser>
        <c:ser>
          <c:idx val="5"/>
          <c:order val="5"/>
          <c:tx>
            <c:strRef>
              <c:f>List1!$G$1</c:f>
              <c:strCache>
                <c:ptCount val="1"/>
                <c:pt idx="0">
                  <c:v>Registrovaní, čekají na termín</c:v>
                </c:pt>
              </c:strCache>
            </c:strRef>
          </c:tx>
          <c:spPr>
            <a:solidFill>
              <a:schemeClr val="bg1">
                <a:lumMod val="75000"/>
              </a:schemeClr>
            </a:solidFill>
            <a:ln>
              <a:noFill/>
            </a:ln>
            <a:effectLst/>
          </c:spPr>
          <c:invertIfNegative val="0"/>
          <c:dLbls>
            <c:numFmt formatCode="#,##0.0" sourceLinked="0"/>
            <c:spPr>
              <a:noFill/>
              <a:ln>
                <a:noFill/>
              </a:ln>
              <a:effectLst/>
            </c:spPr>
            <c:txPr>
              <a:bodyPr rot="-5400000" spcFirstLastPara="1" vertOverflow="ellipsis"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CELKEM celá populace</c:v>
                </c:pt>
                <c:pt idx="1">
                  <c:v>18 a více let CELKEM</c:v>
                </c:pt>
                <c:pt idx="2">
                  <c:v>16 a více let CELKEM</c:v>
                </c:pt>
                <c:pt idx="3">
                  <c:v>12 a více let CELKEM</c:v>
                </c:pt>
                <c:pt idx="4">
                  <c:v>80 a více let</c:v>
                </c:pt>
                <c:pt idx="5">
                  <c:v>70–79 let</c:v>
                </c:pt>
                <c:pt idx="6">
                  <c:v>65–69 let</c:v>
                </c:pt>
                <c:pt idx="7">
                  <c:v>60–64 let</c:v>
                </c:pt>
                <c:pt idx="8">
                  <c:v>55–59 let</c:v>
                </c:pt>
                <c:pt idx="9">
                  <c:v>50–54 let</c:v>
                </c:pt>
                <c:pt idx="10">
                  <c:v>45–49 let</c:v>
                </c:pt>
                <c:pt idx="11">
                  <c:v>40–44 let</c:v>
                </c:pt>
                <c:pt idx="12">
                  <c:v>35–39 let</c:v>
                </c:pt>
                <c:pt idx="13">
                  <c:v>30–34 let</c:v>
                </c:pt>
                <c:pt idx="14">
                  <c:v>16–29 let</c:v>
                </c:pt>
                <c:pt idx="15">
                  <c:v>12–15 let</c:v>
                </c:pt>
                <c:pt idx="16">
                  <c:v>5–11 let</c:v>
                </c:pt>
              </c:strCache>
            </c:strRef>
          </c:cat>
          <c:val>
            <c:numRef>
              <c:f>List1!$G$2:$G$18</c:f>
              <c:numCache>
                <c:formatCode>General</c:formatCode>
                <c:ptCount val="17"/>
                <c:pt idx="0">
                  <c:v>0.4633062</c:v>
                </c:pt>
                <c:pt idx="1">
                  <c:v>0.44058799999999998</c:v>
                </c:pt>
                <c:pt idx="2">
                  <c:v>0.44825609999999999</c:v>
                </c:pt>
                <c:pt idx="3">
                  <c:v>0.53115950000000001</c:v>
                </c:pt>
                <c:pt idx="4">
                  <c:v>1.130884</c:v>
                </c:pt>
                <c:pt idx="5">
                  <c:v>0.5524</c:v>
                </c:pt>
                <c:pt idx="6">
                  <c:v>0.2673932</c:v>
                </c:pt>
                <c:pt idx="7">
                  <c:v>0.1606805</c:v>
                </c:pt>
                <c:pt idx="8">
                  <c:v>0.1873881</c:v>
                </c:pt>
                <c:pt idx="9">
                  <c:v>0.23716400000000001</c:v>
                </c:pt>
                <c:pt idx="10">
                  <c:v>0.2768002</c:v>
                </c:pt>
                <c:pt idx="11">
                  <c:v>0.3178029</c:v>
                </c:pt>
                <c:pt idx="12">
                  <c:v>0.45147419999999999</c:v>
                </c:pt>
                <c:pt idx="13">
                  <c:v>0.54873139999999998</c:v>
                </c:pt>
                <c:pt idx="14">
                  <c:v>0.71864570000000005</c:v>
                </c:pt>
                <c:pt idx="15">
                  <c:v>0.88742750000000004</c:v>
                </c:pt>
                <c:pt idx="16">
                  <c:v>0.6508777</c:v>
                </c:pt>
              </c:numCache>
            </c:numRef>
          </c:val>
          <c:extLst>
            <c:ext xmlns:c16="http://schemas.microsoft.com/office/drawing/2014/chart" uri="{C3380CC4-5D6E-409C-BE32-E72D297353CC}">
              <c16:uniqueId val="{00000006-A13B-470D-A795-D51EE487595C}"/>
            </c:ext>
          </c:extLst>
        </c:ser>
        <c:ser>
          <c:idx val="6"/>
          <c:order val="6"/>
          <c:tx>
            <c:strRef>
              <c:f>List1!$H$1</c:f>
              <c:strCache>
                <c:ptCount val="1"/>
                <c:pt idx="0">
                  <c:v> </c:v>
                </c:pt>
              </c:strCache>
            </c:strRef>
          </c:tx>
          <c:spPr>
            <a:solidFill>
              <a:schemeClr val="bg1">
                <a:lumMod val="9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CELKEM celá populace</c:v>
                </c:pt>
                <c:pt idx="1">
                  <c:v>18 a více let CELKEM</c:v>
                </c:pt>
                <c:pt idx="2">
                  <c:v>16 a více let CELKEM</c:v>
                </c:pt>
                <c:pt idx="3">
                  <c:v>12 a více let CELKEM</c:v>
                </c:pt>
                <c:pt idx="4">
                  <c:v>80 a více let</c:v>
                </c:pt>
                <c:pt idx="5">
                  <c:v>70–79 let</c:v>
                </c:pt>
                <c:pt idx="6">
                  <c:v>65–69 let</c:v>
                </c:pt>
                <c:pt idx="7">
                  <c:v>60–64 let</c:v>
                </c:pt>
                <c:pt idx="8">
                  <c:v>55–59 let</c:v>
                </c:pt>
                <c:pt idx="9">
                  <c:v>50–54 let</c:v>
                </c:pt>
                <c:pt idx="10">
                  <c:v>45–49 let</c:v>
                </c:pt>
                <c:pt idx="11">
                  <c:v>40–44 let</c:v>
                </c:pt>
                <c:pt idx="12">
                  <c:v>35–39 let</c:v>
                </c:pt>
                <c:pt idx="13">
                  <c:v>30–34 let</c:v>
                </c:pt>
                <c:pt idx="14">
                  <c:v>16–29 let</c:v>
                </c:pt>
                <c:pt idx="15">
                  <c:v>12–15 let</c:v>
                </c:pt>
                <c:pt idx="16">
                  <c:v>5–11 let</c:v>
                </c:pt>
              </c:strCache>
            </c:strRef>
          </c:cat>
          <c:val>
            <c:numRef>
              <c:f>List1!$H$2:$H$18</c:f>
              <c:numCache>
                <c:formatCode>General</c:formatCode>
                <c:ptCount val="17"/>
                <c:pt idx="0">
                  <c:v>26.215720999999998</c:v>
                </c:pt>
                <c:pt idx="1">
                  <c:v>17.972069600000001</c:v>
                </c:pt>
                <c:pt idx="2">
                  <c:v>17.9899065</c:v>
                </c:pt>
                <c:pt idx="3">
                  <c:v>15.4096791</c:v>
                </c:pt>
                <c:pt idx="4">
                  <c:v>4.3427644399999998</c:v>
                </c:pt>
                <c:pt idx="5">
                  <c:v>6.6704032599999996</c:v>
                </c:pt>
                <c:pt idx="6">
                  <c:v>13.079215599999999</c:v>
                </c:pt>
                <c:pt idx="7">
                  <c:v>17.575723700000001</c:v>
                </c:pt>
                <c:pt idx="8">
                  <c:v>16.420125599999999</c:v>
                </c:pt>
                <c:pt idx="9">
                  <c:v>16.569789700000001</c:v>
                </c:pt>
                <c:pt idx="10">
                  <c:v>16.032998500000001</c:v>
                </c:pt>
                <c:pt idx="11">
                  <c:v>23.015355100000001</c:v>
                </c:pt>
                <c:pt idx="12">
                  <c:v>25.752877300000002</c:v>
                </c:pt>
                <c:pt idx="13">
                  <c:v>27.3953968</c:v>
                </c:pt>
                <c:pt idx="14">
                  <c:v>23.431551599999999</c:v>
                </c:pt>
                <c:pt idx="15">
                  <c:v>31.286255100000002</c:v>
                </c:pt>
                <c:pt idx="16">
                  <c:v>70.306672699999993</c:v>
                </c:pt>
              </c:numCache>
            </c:numRef>
          </c:val>
          <c:extLst>
            <c:ext xmlns:c16="http://schemas.microsoft.com/office/drawing/2014/chart" uri="{C3380CC4-5D6E-409C-BE32-E72D297353CC}">
              <c16:uniqueId val="{00000000-6972-4595-A87F-F753F459CBB6}"/>
            </c:ext>
          </c:extLst>
        </c:ser>
        <c:dLbls>
          <c:showLegendKey val="0"/>
          <c:showVal val="0"/>
          <c:showCatName val="0"/>
          <c:showSerName val="0"/>
          <c:showPercent val="0"/>
          <c:showBubbleSize val="0"/>
        </c:dLbls>
        <c:gapWidth val="30"/>
        <c:overlap val="100"/>
        <c:axId val="159492928"/>
        <c:axId val="160289136"/>
      </c:barChart>
      <c:catAx>
        <c:axId val="15949292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cs-CZ"/>
          </a:p>
        </c:txPr>
        <c:crossAx val="160289136"/>
        <c:crosses val="autoZero"/>
        <c:auto val="1"/>
        <c:lblAlgn val="ctr"/>
        <c:lblOffset val="100"/>
        <c:noMultiLvlLbl val="0"/>
      </c:catAx>
      <c:valAx>
        <c:axId val="160289136"/>
        <c:scaling>
          <c:orientation val="minMax"/>
          <c:max val="100"/>
          <c:min val="0"/>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59492928"/>
        <c:crosses val="autoZero"/>
        <c:crossBetween val="between"/>
        <c:majorUnit val="5"/>
      </c:valAx>
      <c:spPr>
        <a:noFill/>
        <a:ln>
          <a:noFill/>
        </a:ln>
        <a:effectLst/>
      </c:spPr>
    </c:plotArea>
    <c:legend>
      <c:legendPos val="t"/>
      <c:layout>
        <c:manualLayout>
          <c:xMode val="edge"/>
          <c:yMode val="edge"/>
          <c:x val="4.6161076001469542E-3"/>
          <c:y val="5.0081916086988656E-2"/>
          <c:w val="0.99538389239985303"/>
          <c:h val="4.5851399947898858E-2"/>
        </c:manualLayout>
      </c:layout>
      <c:overlay val="0"/>
      <c:spPr>
        <a:solidFill>
          <a:schemeClr val="bg1"/>
        </a:solid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318277834663197E-2"/>
          <c:y val="3.1947616615880747E-2"/>
          <c:w val="0.88797141962854675"/>
          <c:h val="0.89514045159250821"/>
        </c:manualLayout>
      </c:layout>
      <c:barChart>
        <c:barDir val="col"/>
        <c:grouping val="clustered"/>
        <c:varyColors val="0"/>
        <c:ser>
          <c:idx val="0"/>
          <c:order val="0"/>
          <c:tx>
            <c:strRef>
              <c:f>List1!$B$1</c:f>
              <c:strCache>
                <c:ptCount val="1"/>
                <c:pt idx="0">
                  <c:v>mají registraci či rezervaci k očkování</c:v>
                </c:pt>
              </c:strCache>
            </c:strRef>
          </c:tx>
          <c:spPr>
            <a:solidFill>
              <a:schemeClr val="tx2">
                <a:lumMod val="60000"/>
                <a:lumOff val="40000"/>
              </a:schemeClr>
            </a:solidFill>
            <a:ln>
              <a:noFill/>
            </a:ln>
            <a:effectLst/>
          </c:spPr>
          <c:invertIfNegative val="0"/>
          <c:dLbls>
            <c:numFmt formatCode="0.0&quot; %&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5</c:f>
              <c:strCache>
                <c:ptCount val="14"/>
                <c:pt idx="0">
                  <c:v>80+</c:v>
                </c:pt>
                <c:pt idx="1">
                  <c:v>70–79</c:v>
                </c:pt>
                <c:pt idx="2">
                  <c:v>65–69</c:v>
                </c:pt>
                <c:pt idx="3">
                  <c:v>60–64</c:v>
                </c:pt>
                <c:pt idx="4">
                  <c:v>55–59</c:v>
                </c:pt>
                <c:pt idx="5">
                  <c:v>50–54</c:v>
                </c:pt>
                <c:pt idx="6">
                  <c:v>45–49</c:v>
                </c:pt>
                <c:pt idx="7">
                  <c:v>40–44</c:v>
                </c:pt>
                <c:pt idx="8">
                  <c:v>35–39</c:v>
                </c:pt>
                <c:pt idx="9">
                  <c:v>30–34</c:v>
                </c:pt>
                <c:pt idx="10">
                  <c:v>16–29</c:v>
                </c:pt>
                <c:pt idx="11">
                  <c:v>12–15</c:v>
                </c:pt>
                <c:pt idx="13">
                  <c:v>18+ CELKEM</c:v>
                </c:pt>
              </c:strCache>
            </c:strRef>
          </c:cat>
          <c:val>
            <c:numRef>
              <c:f>List1!$B$2:$B$15</c:f>
              <c:numCache>
                <c:formatCode>General</c:formatCode>
                <c:ptCount val="14"/>
                <c:pt idx="0">
                  <c:v>91.547977099999997</c:v>
                </c:pt>
                <c:pt idx="1">
                  <c:v>90.843507900000006</c:v>
                </c:pt>
                <c:pt idx="2">
                  <c:v>84.136504400000007</c:v>
                </c:pt>
                <c:pt idx="3">
                  <c:v>78.174957800000001</c:v>
                </c:pt>
                <c:pt idx="4">
                  <c:v>77.396664000000001</c:v>
                </c:pt>
                <c:pt idx="5">
                  <c:v>76.229917400000005</c:v>
                </c:pt>
                <c:pt idx="6">
                  <c:v>75.711262099999999</c:v>
                </c:pt>
                <c:pt idx="7">
                  <c:v>68.277920300000005</c:v>
                </c:pt>
                <c:pt idx="8">
                  <c:v>64.362214800000004</c:v>
                </c:pt>
                <c:pt idx="9">
                  <c:v>62.289566000000001</c:v>
                </c:pt>
                <c:pt idx="10">
                  <c:v>65.736522600000001</c:v>
                </c:pt>
                <c:pt idx="11">
                  <c:v>48.783100500000003</c:v>
                </c:pt>
                <c:pt idx="13">
                  <c:v>74.953853199999998</c:v>
                </c:pt>
              </c:numCache>
            </c:numRef>
          </c:val>
          <c:extLst>
            <c:ext xmlns:c16="http://schemas.microsoft.com/office/drawing/2014/chart" uri="{C3380CC4-5D6E-409C-BE32-E72D297353CC}">
              <c16:uniqueId val="{00000000-219D-47E9-97C6-135EE347D81C}"/>
            </c:ext>
          </c:extLst>
        </c:ser>
        <c:ser>
          <c:idx val="1"/>
          <c:order val="1"/>
          <c:tx>
            <c:strRef>
              <c:f>List1!$C$1</c:f>
              <c:strCache>
                <c:ptCount val="1"/>
                <c:pt idx="0">
                  <c:v>jsou očkovaní alespoň první dávkou</c:v>
                </c:pt>
              </c:strCache>
            </c:strRef>
          </c:tx>
          <c:spPr>
            <a:solidFill>
              <a:schemeClr val="tx2">
                <a:lumMod val="75000"/>
              </a:schemeClr>
            </a:solidFill>
            <a:ln>
              <a:noFill/>
            </a:ln>
            <a:effectLst/>
          </c:spPr>
          <c:invertIfNegative val="0"/>
          <c:cat>
            <c:strRef>
              <c:f>List1!$A$2:$A$15</c:f>
              <c:strCache>
                <c:ptCount val="14"/>
                <c:pt idx="0">
                  <c:v>80+</c:v>
                </c:pt>
                <c:pt idx="1">
                  <c:v>70–79</c:v>
                </c:pt>
                <c:pt idx="2">
                  <c:v>65–69</c:v>
                </c:pt>
                <c:pt idx="3">
                  <c:v>60–64</c:v>
                </c:pt>
                <c:pt idx="4">
                  <c:v>55–59</c:v>
                </c:pt>
                <c:pt idx="5">
                  <c:v>50–54</c:v>
                </c:pt>
                <c:pt idx="6">
                  <c:v>45–49</c:v>
                </c:pt>
                <c:pt idx="7">
                  <c:v>40–44</c:v>
                </c:pt>
                <c:pt idx="8">
                  <c:v>35–39</c:v>
                </c:pt>
                <c:pt idx="9">
                  <c:v>30–34</c:v>
                </c:pt>
                <c:pt idx="10">
                  <c:v>16–29</c:v>
                </c:pt>
                <c:pt idx="11">
                  <c:v>12–15</c:v>
                </c:pt>
                <c:pt idx="13">
                  <c:v>18+ CELKEM</c:v>
                </c:pt>
              </c:strCache>
            </c:strRef>
          </c:cat>
          <c:val>
            <c:numRef>
              <c:f>List1!$C$2:$C$15</c:f>
              <c:numCache>
                <c:formatCode>General</c:formatCode>
                <c:ptCount val="14"/>
                <c:pt idx="0">
                  <c:v>90.348716999999994</c:v>
                </c:pt>
                <c:pt idx="1">
                  <c:v>90.224754000000004</c:v>
                </c:pt>
                <c:pt idx="2">
                  <c:v>83.798023999999998</c:v>
                </c:pt>
                <c:pt idx="3">
                  <c:v>77.919787999999997</c:v>
                </c:pt>
                <c:pt idx="4">
                  <c:v>77.082060999999996</c:v>
                </c:pt>
                <c:pt idx="5">
                  <c:v>75.837199999999996</c:v>
                </c:pt>
                <c:pt idx="6">
                  <c:v>75.242866000000006</c:v>
                </c:pt>
                <c:pt idx="7">
                  <c:v>67.712726000000004</c:v>
                </c:pt>
                <c:pt idx="8">
                  <c:v>63.541303999999997</c:v>
                </c:pt>
                <c:pt idx="9">
                  <c:v>61.270969999999998</c:v>
                </c:pt>
                <c:pt idx="10">
                  <c:v>64.428822999999994</c:v>
                </c:pt>
                <c:pt idx="11">
                  <c:v>46.586767000000002</c:v>
                </c:pt>
                <c:pt idx="13">
                  <c:v>74.269034000000005</c:v>
                </c:pt>
              </c:numCache>
            </c:numRef>
          </c:val>
          <c:extLst>
            <c:ext xmlns:c16="http://schemas.microsoft.com/office/drawing/2014/chart" uri="{C3380CC4-5D6E-409C-BE32-E72D297353CC}">
              <c16:uniqueId val="{00000001-219D-47E9-97C6-135EE347D81C}"/>
            </c:ext>
          </c:extLst>
        </c:ser>
        <c:dLbls>
          <c:showLegendKey val="0"/>
          <c:showVal val="0"/>
          <c:showCatName val="0"/>
          <c:showSerName val="0"/>
          <c:showPercent val="0"/>
          <c:showBubbleSize val="0"/>
        </c:dLbls>
        <c:gapWidth val="50"/>
        <c:overlap val="100"/>
        <c:axId val="159492928"/>
        <c:axId val="160289136"/>
      </c:barChart>
      <c:catAx>
        <c:axId val="159492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1" i="0" u="none" strike="noStrike" kern="1200" baseline="0">
                <a:solidFill>
                  <a:schemeClr val="tx1"/>
                </a:solidFill>
                <a:latin typeface="+mn-lt"/>
                <a:ea typeface="+mn-ea"/>
                <a:cs typeface="+mn-cs"/>
              </a:defRPr>
            </a:pPr>
            <a:endParaRPr lang="cs-CZ"/>
          </a:p>
        </c:txPr>
        <c:crossAx val="160289136"/>
        <c:crosses val="autoZero"/>
        <c:auto val="1"/>
        <c:lblAlgn val="ctr"/>
        <c:lblOffset val="100"/>
        <c:tickLblSkip val="1"/>
        <c:noMultiLvlLbl val="0"/>
      </c:catAx>
      <c:valAx>
        <c:axId val="160289136"/>
        <c:scaling>
          <c:orientation val="minMax"/>
          <c:max val="100"/>
        </c:scaling>
        <c:delete val="0"/>
        <c:axPos val="l"/>
        <c:majorGridlines>
          <c:spPr>
            <a:ln w="6350" cap="flat" cmpd="sng" algn="ctr">
              <a:solidFill>
                <a:schemeClr val="bg1">
                  <a:lumMod val="95000"/>
                </a:schemeClr>
              </a:solidFill>
              <a:round/>
            </a:ln>
            <a:effectLst/>
          </c:spPr>
        </c:majorGridlines>
        <c:numFmt formatCode="0&quot; %&quot;"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159492928"/>
        <c:crosses val="autoZero"/>
        <c:crossBetween val="between"/>
        <c:majorUnit val="5"/>
      </c:valAx>
      <c:spPr>
        <a:noFill/>
        <a:ln>
          <a:noFill/>
        </a:ln>
        <a:effectLst/>
      </c:spPr>
    </c:plotArea>
    <c:legend>
      <c:legendPos val="t"/>
      <c:layout>
        <c:manualLayout>
          <c:xMode val="edge"/>
          <c:yMode val="edge"/>
          <c:x val="0.56570894694871343"/>
          <c:y val="9.0139915797375347E-3"/>
          <c:w val="0.41276488512329151"/>
          <c:h val="8.9144703621308483E-2"/>
        </c:manualLayout>
      </c:layout>
      <c:overlay val="0"/>
      <c:spPr>
        <a:solidFill>
          <a:schemeClr val="bg1"/>
        </a:solid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9856463840257E-2"/>
          <c:y val="2.8049443959542598E-2"/>
          <c:w val="0.80334957098880577"/>
          <c:h val="0.7587762916834988"/>
        </c:manualLayout>
      </c:layout>
      <c:lineChart>
        <c:grouping val="standard"/>
        <c:varyColors val="0"/>
        <c:ser>
          <c:idx val="0"/>
          <c:order val="0"/>
          <c:tx>
            <c:strRef>
              <c:f>List1!$A$2</c:f>
              <c:strCache>
                <c:ptCount val="1"/>
                <c:pt idx="0">
                  <c:v>20-34 let</c:v>
                </c:pt>
              </c:strCache>
            </c:strRef>
          </c:tx>
          <c:spPr>
            <a:ln w="28575" cap="rnd">
              <a:solidFill>
                <a:srgbClr val="00B0F0"/>
              </a:solidFill>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1.12</c:v>
                </c:pt>
              </c:strCache>
            </c:strRef>
          </c:cat>
          <c:val>
            <c:numRef>
              <c:f>List1!$B$2:$R$2</c:f>
              <c:numCache>
                <c:formatCode>General</c:formatCode>
                <c:ptCount val="17"/>
                <c:pt idx="0">
                  <c:v>22.885233852982001</c:v>
                </c:pt>
                <c:pt idx="1">
                  <c:v>25.910925828737</c:v>
                </c:pt>
                <c:pt idx="2">
                  <c:v>29.211680711378001</c:v>
                </c:pt>
                <c:pt idx="3">
                  <c:v>34.877976593245997</c:v>
                </c:pt>
                <c:pt idx="4">
                  <c:v>41.039385707511002</c:v>
                </c:pt>
                <c:pt idx="5">
                  <c:v>60.788902421983003</c:v>
                </c:pt>
                <c:pt idx="6">
                  <c:v>70.031016093380003</c:v>
                </c:pt>
                <c:pt idx="7">
                  <c:v>111.785565358797</c:v>
                </c:pt>
                <c:pt idx="8">
                  <c:v>230.722766296652</c:v>
                </c:pt>
                <c:pt idx="9">
                  <c:v>370.34469783239399</c:v>
                </c:pt>
                <c:pt idx="10">
                  <c:v>577.19200381127098</c:v>
                </c:pt>
                <c:pt idx="11">
                  <c:v>765.72012019148701</c:v>
                </c:pt>
                <c:pt idx="12">
                  <c:v>968.33145740430803</c:v>
                </c:pt>
                <c:pt idx="13">
                  <c:v>1141.7311139057499</c:v>
                </c:pt>
                <c:pt idx="14">
                  <c:v>932.18819143938197</c:v>
                </c:pt>
                <c:pt idx="15">
                  <c:v>718.35428762557899</c:v>
                </c:pt>
                <c:pt idx="16">
                  <c:v>543.63432917108105</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35-49 let</c:v>
                </c:pt>
              </c:strCache>
            </c:strRef>
          </c:tx>
          <c:spPr>
            <a:ln w="28575" cap="rnd">
              <a:solidFill>
                <a:srgbClr val="00B050"/>
              </a:solidFill>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1.12</c:v>
                </c:pt>
              </c:strCache>
            </c:strRef>
          </c:cat>
          <c:val>
            <c:numRef>
              <c:f>List1!$B$3:$R$3</c:f>
              <c:numCache>
                <c:formatCode>General</c:formatCode>
                <c:ptCount val="17"/>
                <c:pt idx="0">
                  <c:v>13.363819711792001</c:v>
                </c:pt>
                <c:pt idx="1">
                  <c:v>20.559722633526</c:v>
                </c:pt>
                <c:pt idx="2">
                  <c:v>24.632129232090001</c:v>
                </c:pt>
                <c:pt idx="3">
                  <c:v>30.800046022147999</c:v>
                </c:pt>
                <c:pt idx="4">
                  <c:v>34.595687123722001</c:v>
                </c:pt>
                <c:pt idx="5">
                  <c:v>54.127423625572</c:v>
                </c:pt>
                <c:pt idx="6">
                  <c:v>70.772891373099995</c:v>
                </c:pt>
                <c:pt idx="7">
                  <c:v>128.57734231582299</c:v>
                </c:pt>
                <c:pt idx="8">
                  <c:v>269.64866992432798</c:v>
                </c:pt>
                <c:pt idx="9">
                  <c:v>449.42762918326099</c:v>
                </c:pt>
                <c:pt idx="10">
                  <c:v>617.89874099375402</c:v>
                </c:pt>
                <c:pt idx="11">
                  <c:v>887.34972127737501</c:v>
                </c:pt>
                <c:pt idx="12">
                  <c:v>1215.0005317851301</c:v>
                </c:pt>
                <c:pt idx="13">
                  <c:v>1356.03232146549</c:v>
                </c:pt>
                <c:pt idx="14">
                  <c:v>1181.8677480026399</c:v>
                </c:pt>
                <c:pt idx="15">
                  <c:v>910.75617473708201</c:v>
                </c:pt>
                <c:pt idx="16">
                  <c:v>666.37224089510698</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50-64 let</c:v>
                </c:pt>
              </c:strCache>
            </c:strRef>
          </c:tx>
          <c:spPr>
            <a:ln w="28575" cap="rnd">
              <a:solidFill>
                <a:srgbClr val="C00000"/>
              </a:solidFill>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1.12</c:v>
                </c:pt>
              </c:strCache>
            </c:strRef>
          </c:cat>
          <c:val>
            <c:numRef>
              <c:f>List1!$B$4:$R$4</c:f>
              <c:numCache>
                <c:formatCode>General</c:formatCode>
                <c:ptCount val="17"/>
                <c:pt idx="0">
                  <c:v>8.0049096779350002</c:v>
                </c:pt>
                <c:pt idx="1">
                  <c:v>12.838062691029</c:v>
                </c:pt>
                <c:pt idx="2">
                  <c:v>14.650495070939</c:v>
                </c:pt>
                <c:pt idx="3">
                  <c:v>17.620870360236001</c:v>
                </c:pt>
                <c:pt idx="4">
                  <c:v>18.426395862418001</c:v>
                </c:pt>
                <c:pt idx="5">
                  <c:v>31.969293367856</c:v>
                </c:pt>
                <c:pt idx="6">
                  <c:v>42.843887647316002</c:v>
                </c:pt>
                <c:pt idx="7">
                  <c:v>80.804276937653</c:v>
                </c:pt>
                <c:pt idx="8">
                  <c:v>165.38445466678601</c:v>
                </c:pt>
                <c:pt idx="9">
                  <c:v>280.17183872775303</c:v>
                </c:pt>
                <c:pt idx="10">
                  <c:v>420.43396679523102</c:v>
                </c:pt>
                <c:pt idx="11">
                  <c:v>571.36930776662496</c:v>
                </c:pt>
                <c:pt idx="12">
                  <c:v>733.58200576856905</c:v>
                </c:pt>
                <c:pt idx="13">
                  <c:v>883.35940383057505</c:v>
                </c:pt>
                <c:pt idx="14">
                  <c:v>810.56003657085705</c:v>
                </c:pt>
                <c:pt idx="15">
                  <c:v>625.23882572506102</c:v>
                </c:pt>
                <c:pt idx="16">
                  <c:v>446.462509584494</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65-74 let</c:v>
                </c:pt>
              </c:strCache>
            </c:strRef>
          </c:tx>
          <c:spPr>
            <a:ln w="28575" cap="rnd">
              <a:solidFill>
                <a:srgbClr val="FFC000"/>
              </a:solidFill>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1.12</c:v>
                </c:pt>
              </c:strCache>
            </c:strRef>
          </c:cat>
          <c:val>
            <c:numRef>
              <c:f>List1!$B$5:$R$5</c:f>
              <c:numCache>
                <c:formatCode>General</c:formatCode>
                <c:ptCount val="17"/>
                <c:pt idx="0">
                  <c:v>3.6332855337250001</c:v>
                </c:pt>
                <c:pt idx="1">
                  <c:v>6.1843158020860001</c:v>
                </c:pt>
                <c:pt idx="2">
                  <c:v>8.7353460704469992</c:v>
                </c:pt>
                <c:pt idx="3">
                  <c:v>9.3537776506549992</c:v>
                </c:pt>
                <c:pt idx="4">
                  <c:v>10.977160548703001</c:v>
                </c:pt>
                <c:pt idx="5">
                  <c:v>21.258585569672</c:v>
                </c:pt>
                <c:pt idx="6">
                  <c:v>23.655007942979999</c:v>
                </c:pt>
                <c:pt idx="7">
                  <c:v>46.150456673070003</c:v>
                </c:pt>
                <c:pt idx="8">
                  <c:v>99.490180466064999</c:v>
                </c:pt>
                <c:pt idx="9">
                  <c:v>170.532508242533</c:v>
                </c:pt>
                <c:pt idx="10">
                  <c:v>279.917593991937</c:v>
                </c:pt>
                <c:pt idx="11">
                  <c:v>374.92414550148999</c:v>
                </c:pt>
                <c:pt idx="12">
                  <c:v>472.481727279403</c:v>
                </c:pt>
                <c:pt idx="13">
                  <c:v>578.31083144260697</c:v>
                </c:pt>
                <c:pt idx="14">
                  <c:v>522.80659711888097</c:v>
                </c:pt>
                <c:pt idx="15">
                  <c:v>405.304596879239</c:v>
                </c:pt>
                <c:pt idx="16">
                  <c:v>279.60837820183201</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75+ let</c:v>
                </c:pt>
              </c:strCache>
            </c:strRef>
          </c:tx>
          <c:spPr>
            <a:ln w="28575" cap="rnd">
              <a:solidFill>
                <a:schemeClr val="bg1">
                  <a:lumMod val="65000"/>
                </a:schemeClr>
              </a:solidFill>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1.12</c:v>
                </c:pt>
              </c:strCache>
            </c:strRef>
          </c:cat>
          <c:val>
            <c:numRef>
              <c:f>List1!$B$6:$R$6</c:f>
              <c:numCache>
                <c:formatCode>General</c:formatCode>
                <c:ptCount val="17"/>
                <c:pt idx="0">
                  <c:v>3.3536595942990002</c:v>
                </c:pt>
                <c:pt idx="1">
                  <c:v>9.3671181771810001</c:v>
                </c:pt>
                <c:pt idx="2">
                  <c:v>9.2514747428950006</c:v>
                </c:pt>
                <c:pt idx="3">
                  <c:v>12.14256060005</c:v>
                </c:pt>
                <c:pt idx="4">
                  <c:v>10.986126257187999</c:v>
                </c:pt>
                <c:pt idx="5">
                  <c:v>22.319182817234999</c:v>
                </c:pt>
                <c:pt idx="6">
                  <c:v>33.883526245855002</c:v>
                </c:pt>
                <c:pt idx="7">
                  <c:v>59.903298960249003</c:v>
                </c:pt>
                <c:pt idx="8">
                  <c:v>120.26917165764399</c:v>
                </c:pt>
                <c:pt idx="9">
                  <c:v>195.321760509386</c:v>
                </c:pt>
                <c:pt idx="10">
                  <c:v>313.50935034987901</c:v>
                </c:pt>
                <c:pt idx="11">
                  <c:v>392.37817253306503</c:v>
                </c:pt>
                <c:pt idx="12">
                  <c:v>443.60821392184999</c:v>
                </c:pt>
                <c:pt idx="13">
                  <c:v>477.02916643056102</c:v>
                </c:pt>
                <c:pt idx="14">
                  <c:v>426.49298564749301</c:v>
                </c:pt>
                <c:pt idx="15">
                  <c:v>339.99169680141802</c:v>
                </c:pt>
                <c:pt idx="16">
                  <c:v>240.42269988100199</c:v>
                </c:pt>
              </c:numCache>
            </c:numRef>
          </c:val>
          <c:smooth val="0"/>
          <c:extLst>
            <c:ext xmlns:c16="http://schemas.microsoft.com/office/drawing/2014/chart" uri="{C3380CC4-5D6E-409C-BE32-E72D297353CC}">
              <c16:uniqueId val="{00000004-E230-405E-9EEC-CAC00A93CD09}"/>
            </c:ext>
          </c:extLst>
        </c:ser>
        <c:ser>
          <c:idx val="5"/>
          <c:order val="5"/>
          <c:tx>
            <c:strRef>
              <c:f>List1!$A$7</c:f>
              <c:strCache>
                <c:ptCount val="1"/>
                <c:pt idx="0">
                  <c:v>Celá populace ČR</c:v>
                </c:pt>
              </c:strCache>
            </c:strRef>
          </c:tx>
          <c:spPr>
            <a:ln w="28575" cap="rnd">
              <a:solidFill>
                <a:schemeClr val="tx1"/>
              </a:solidFill>
              <a:prstDash val="sysDash"/>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1.12</c:v>
                </c:pt>
              </c:strCache>
            </c:strRef>
          </c:cat>
          <c:val>
            <c:numRef>
              <c:f>List1!$B$7:$R$7</c:f>
              <c:numCache>
                <c:formatCode>General</c:formatCode>
                <c:ptCount val="17"/>
                <c:pt idx="0">
                  <c:v>12.895054718481999</c:v>
                </c:pt>
                <c:pt idx="1">
                  <c:v>20.501268153877</c:v>
                </c:pt>
                <c:pt idx="2">
                  <c:v>24.958471850047999</c:v>
                </c:pt>
                <c:pt idx="3">
                  <c:v>28.724201597547001</c:v>
                </c:pt>
                <c:pt idx="4">
                  <c:v>30.938787081808002</c:v>
                </c:pt>
                <c:pt idx="5">
                  <c:v>49.057273385532</c:v>
                </c:pt>
                <c:pt idx="6">
                  <c:v>64.503306320061995</c:v>
                </c:pt>
                <c:pt idx="7">
                  <c:v>117.298276725444</c:v>
                </c:pt>
                <c:pt idx="8">
                  <c:v>245.940463906134</c:v>
                </c:pt>
                <c:pt idx="9">
                  <c:v>386.05738093776301</c:v>
                </c:pt>
                <c:pt idx="10">
                  <c:v>558.75767173993597</c:v>
                </c:pt>
                <c:pt idx="11">
                  <c:v>814.66844244651998</c:v>
                </c:pt>
                <c:pt idx="12">
                  <c:v>1062.63660698592</c:v>
                </c:pt>
                <c:pt idx="13">
                  <c:v>1194.17550935699</c:v>
                </c:pt>
                <c:pt idx="14">
                  <c:v>1025.7081604298</c:v>
                </c:pt>
                <c:pt idx="15">
                  <c:v>790.49488697063998</c:v>
                </c:pt>
                <c:pt idx="16">
                  <c:v>562.53274572998396</c:v>
                </c:pt>
              </c:numCache>
            </c:numRef>
          </c:val>
          <c:smooth val="0"/>
          <c:extLst>
            <c:ext xmlns:c16="http://schemas.microsoft.com/office/drawing/2014/chart" uri="{C3380CC4-5D6E-409C-BE32-E72D297353CC}">
              <c16:uniqueId val="{00000000-1EBB-4442-9D6E-7DAB86DA9ED4}"/>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5809610965008587"/>
          <c:y val="0.27545860500728103"/>
          <c:w val="0.14190389034991419"/>
          <c:h val="0.4944791082477983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566975803339063E-2"/>
          <c:y val="2.4439798581526975E-2"/>
          <c:w val="0.79539090943282509"/>
          <c:h val="0.7587762916834988"/>
        </c:manualLayout>
      </c:layout>
      <c:lineChart>
        <c:grouping val="standard"/>
        <c:varyColors val="0"/>
        <c:ser>
          <c:idx val="0"/>
          <c:order val="0"/>
          <c:tx>
            <c:strRef>
              <c:f>List1!$A$2</c:f>
              <c:strCache>
                <c:ptCount val="1"/>
                <c:pt idx="0">
                  <c:v>0–4 roky</c:v>
                </c:pt>
              </c:strCache>
            </c:strRef>
          </c:tx>
          <c:spPr>
            <a:ln w="28575" cap="rnd">
              <a:solidFill>
                <a:srgbClr val="00B0F0"/>
              </a:solidFill>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B$2:$R$2</c:f>
              <c:numCache>
                <c:formatCode>General</c:formatCode>
                <c:ptCount val="17"/>
                <c:pt idx="0">
                  <c:v>6.1699884709350004</c:v>
                </c:pt>
                <c:pt idx="1">
                  <c:v>10.753408477916</c:v>
                </c:pt>
                <c:pt idx="2">
                  <c:v>11.634835402336</c:v>
                </c:pt>
                <c:pt idx="3">
                  <c:v>12.339976941871001</c:v>
                </c:pt>
                <c:pt idx="4">
                  <c:v>15.336828484897</c:v>
                </c:pt>
                <c:pt idx="5">
                  <c:v>22.917100034903999</c:v>
                </c:pt>
                <c:pt idx="6">
                  <c:v>32.436510818633998</c:v>
                </c:pt>
                <c:pt idx="7">
                  <c:v>50.417620076788999</c:v>
                </c:pt>
                <c:pt idx="8">
                  <c:v>89.729260905895003</c:v>
                </c:pt>
                <c:pt idx="9">
                  <c:v>126.74919173151</c:v>
                </c:pt>
                <c:pt idx="10">
                  <c:v>244.33154344905799</c:v>
                </c:pt>
                <c:pt idx="11">
                  <c:v>373.19615979917501</c:v>
                </c:pt>
                <c:pt idx="12">
                  <c:v>519.68931463768001</c:v>
                </c:pt>
                <c:pt idx="13">
                  <c:v>671.29474563781798</c:v>
                </c:pt>
                <c:pt idx="14">
                  <c:v>657.89705638664304</c:v>
                </c:pt>
                <c:pt idx="15">
                  <c:v>561.46895085515996</c:v>
                </c:pt>
                <c:pt idx="16">
                  <c:v>448.82258991435998</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5–11 let</c:v>
                </c:pt>
              </c:strCache>
            </c:strRef>
          </c:tx>
          <c:spPr>
            <a:ln w="28575" cap="rnd">
              <a:solidFill>
                <a:srgbClr val="00B050"/>
              </a:solidFill>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B$3:$R$3</c:f>
              <c:numCache>
                <c:formatCode>General</c:formatCode>
                <c:ptCount val="17"/>
                <c:pt idx="0">
                  <c:v>19.128754017976</c:v>
                </c:pt>
                <c:pt idx="1">
                  <c:v>34.881845562191003</c:v>
                </c:pt>
                <c:pt idx="2">
                  <c:v>51.385084322798001</c:v>
                </c:pt>
                <c:pt idx="3">
                  <c:v>55.010795868689002</c:v>
                </c:pt>
                <c:pt idx="4">
                  <c:v>60.261826383427</c:v>
                </c:pt>
                <c:pt idx="5">
                  <c:v>87.017077101381005</c:v>
                </c:pt>
                <c:pt idx="6">
                  <c:v>125.149560601267</c:v>
                </c:pt>
                <c:pt idx="7">
                  <c:v>241.42237914190599</c:v>
                </c:pt>
                <c:pt idx="8">
                  <c:v>502.47361044604997</c:v>
                </c:pt>
                <c:pt idx="9">
                  <c:v>699.76232835693997</c:v>
                </c:pt>
                <c:pt idx="10">
                  <c:v>981.44260811184097</c:v>
                </c:pt>
                <c:pt idx="11">
                  <c:v>1815.4812882028</c:v>
                </c:pt>
                <c:pt idx="12">
                  <c:v>2472.73527429758</c:v>
                </c:pt>
                <c:pt idx="13">
                  <c:v>2580.1313507775899</c:v>
                </c:pt>
                <c:pt idx="14">
                  <c:v>2248.0661829884102</c:v>
                </c:pt>
                <c:pt idx="15">
                  <c:v>1800.72839294711</c:v>
                </c:pt>
                <c:pt idx="16">
                  <c:v>1170.3546821063601</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12–19 let</c:v>
                </c:pt>
              </c:strCache>
            </c:strRef>
          </c:tx>
          <c:spPr>
            <a:ln w="28575" cap="rnd">
              <a:solidFill>
                <a:srgbClr val="C00000"/>
              </a:solidFill>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B$4:$R$4</c:f>
              <c:numCache>
                <c:formatCode>General</c:formatCode>
                <c:ptCount val="17"/>
                <c:pt idx="0">
                  <c:v>23.959596055443001</c:v>
                </c:pt>
                <c:pt idx="1">
                  <c:v>52.900890300633002</c:v>
                </c:pt>
                <c:pt idx="2">
                  <c:v>65.948195083301002</c:v>
                </c:pt>
                <c:pt idx="3">
                  <c:v>67.490149284889</c:v>
                </c:pt>
                <c:pt idx="4">
                  <c:v>61.440944340196999</c:v>
                </c:pt>
                <c:pt idx="5">
                  <c:v>100.227023103218</c:v>
                </c:pt>
                <c:pt idx="6">
                  <c:v>142.80868143937801</c:v>
                </c:pt>
                <c:pt idx="7">
                  <c:v>276.00980208424699</c:v>
                </c:pt>
                <c:pt idx="8">
                  <c:v>612.51165361540802</c:v>
                </c:pt>
                <c:pt idx="9">
                  <c:v>882.23502703164297</c:v>
                </c:pt>
                <c:pt idx="10">
                  <c:v>1156.7028749143001</c:v>
                </c:pt>
                <c:pt idx="11">
                  <c:v>1728.76788370344</c:v>
                </c:pt>
                <c:pt idx="12">
                  <c:v>2150.6702756302402</c:v>
                </c:pt>
                <c:pt idx="13">
                  <c:v>2268.2146305359101</c:v>
                </c:pt>
                <c:pt idx="14">
                  <c:v>1738.0196089129599</c:v>
                </c:pt>
                <c:pt idx="15">
                  <c:v>1221.3463395193301</c:v>
                </c:pt>
                <c:pt idx="16">
                  <c:v>828.62246556104503</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0–19 let</c:v>
                </c:pt>
              </c:strCache>
            </c:strRef>
          </c:tx>
          <c:spPr>
            <a:ln w="28575" cap="rnd">
              <a:solidFill>
                <a:srgbClr val="FFC000"/>
              </a:solidFill>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B$5:$R$5</c:f>
              <c:numCache>
                <c:formatCode>General</c:formatCode>
                <c:ptCount val="17"/>
                <c:pt idx="0">
                  <c:v>17.645533802281999</c:v>
                </c:pt>
                <c:pt idx="1">
                  <c:v>35.562537355368001</c:v>
                </c:pt>
                <c:pt idx="2">
                  <c:v>46.738042096813999</c:v>
                </c:pt>
                <c:pt idx="3">
                  <c:v>48.819310186313999</c:v>
                </c:pt>
                <c:pt idx="4">
                  <c:v>49.181269854052999</c:v>
                </c:pt>
                <c:pt idx="5">
                  <c:v>75.604325599009002</c:v>
                </c:pt>
                <c:pt idx="6">
                  <c:v>108.09020577859501</c:v>
                </c:pt>
                <c:pt idx="7">
                  <c:v>205.593091275821</c:v>
                </c:pt>
                <c:pt idx="8">
                  <c:v>438.51413746594699</c:v>
                </c:pt>
                <c:pt idx="9">
                  <c:v>622.29915876048699</c:v>
                </c:pt>
                <c:pt idx="10">
                  <c:v>859.11127137880806</c:v>
                </c:pt>
                <c:pt idx="11">
                  <c:v>1412.2308886426499</c:v>
                </c:pt>
                <c:pt idx="12">
                  <c:v>1848.61851306063</c:v>
                </c:pt>
                <c:pt idx="13">
                  <c:v>1971.23235050726</c:v>
                </c:pt>
                <c:pt idx="14">
                  <c:v>1645.3781596251099</c:v>
                </c:pt>
                <c:pt idx="15">
                  <c:v>1261.6556668631799</c:v>
                </c:pt>
                <c:pt idx="16">
                  <c:v>854.81300032440595</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Celá populace ČR</c:v>
                </c:pt>
              </c:strCache>
            </c:strRef>
          </c:tx>
          <c:spPr>
            <a:ln w="28575" cap="rnd">
              <a:solidFill>
                <a:schemeClr val="tx1"/>
              </a:solidFill>
              <a:prstDash val="sysDash"/>
              <a:round/>
            </a:ln>
            <a:effectLst/>
          </c:spPr>
          <c:marker>
            <c:symbol val="none"/>
          </c:marker>
          <c:cat>
            <c:strRef>
              <c:f>List1!$B$1:$R$1</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B$6:$R$6</c:f>
              <c:numCache>
                <c:formatCode>General</c:formatCode>
                <c:ptCount val="17"/>
                <c:pt idx="0">
                  <c:v>12.895054718481999</c:v>
                </c:pt>
                <c:pt idx="1">
                  <c:v>20.501268153877</c:v>
                </c:pt>
                <c:pt idx="2">
                  <c:v>24.958471850047999</c:v>
                </c:pt>
                <c:pt idx="3">
                  <c:v>28.724201597547001</c:v>
                </c:pt>
                <c:pt idx="4">
                  <c:v>30.938787081808002</c:v>
                </c:pt>
                <c:pt idx="5">
                  <c:v>49.057273385532</c:v>
                </c:pt>
                <c:pt idx="6">
                  <c:v>64.503306320061995</c:v>
                </c:pt>
                <c:pt idx="7">
                  <c:v>117.298276725444</c:v>
                </c:pt>
                <c:pt idx="8">
                  <c:v>245.940463906134</c:v>
                </c:pt>
                <c:pt idx="9">
                  <c:v>386.05738093776301</c:v>
                </c:pt>
                <c:pt idx="10">
                  <c:v>558.75767173993597</c:v>
                </c:pt>
                <c:pt idx="11">
                  <c:v>814.66844244651998</c:v>
                </c:pt>
                <c:pt idx="12">
                  <c:v>1062.63660698592</c:v>
                </c:pt>
                <c:pt idx="13">
                  <c:v>1194.17550935699</c:v>
                </c:pt>
                <c:pt idx="14">
                  <c:v>1025.7081604298</c:v>
                </c:pt>
                <c:pt idx="15">
                  <c:v>790.49488697063998</c:v>
                </c:pt>
                <c:pt idx="16">
                  <c:v>562.53274572998396</c:v>
                </c:pt>
              </c:numCache>
            </c:numRef>
          </c:val>
          <c:smooth val="0"/>
          <c:extLst>
            <c:ext xmlns:c16="http://schemas.microsoft.com/office/drawing/2014/chart" uri="{C3380CC4-5D6E-409C-BE32-E72D297353CC}">
              <c16:uniqueId val="{00000004-E230-405E-9EEC-CAC00A93CD0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4380214565155387"/>
          <c:y val="0.25415522984813471"/>
          <c:w val="0.14190389034991419"/>
          <c:h val="0.5028025214398994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F$1</c:f>
              <c:strCache>
                <c:ptCount val="1"/>
                <c:pt idx="0">
                  <c:v>12–19 let</c:v>
                </c:pt>
              </c:strCache>
            </c:strRef>
          </c:tx>
          <c:spPr>
            <a:ln w="28575" cap="rnd">
              <a:solidFill>
                <a:schemeClr val="accent1"/>
              </a:solidFill>
              <a:round/>
            </a:ln>
            <a:effectLst/>
          </c:spPr>
          <c:marker>
            <c:symbol val="none"/>
          </c:marker>
          <c:dLbls>
            <c:dLbl>
              <c:idx val="16"/>
              <c:layout>
                <c:manualLayout>
                  <c:x val="-5.0822205394356917E-2"/>
                  <c:y val="6.1061350569079929E-2"/>
                </c:manualLayout>
              </c:layout>
              <c:tx>
                <c:rich>
                  <a:bodyPr/>
                  <a:lstStyle/>
                  <a:p>
                    <a:r>
                      <a:rPr lang="en-US" dirty="0"/>
                      <a:t>21,84</a:t>
                    </a:r>
                    <a:r>
                      <a:rPr lang="en-US" baseline="0" dirty="0"/>
                      <a:t> </a:t>
                    </a:r>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28-4E8F-8E0F-2E876C5F31D9}"/>
                </c:ext>
              </c:extLst>
            </c:dLbl>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F$2:$F$18</c:f>
              <c:numCache>
                <c:formatCode>General</c:formatCode>
                <c:ptCount val="17"/>
                <c:pt idx="0">
                  <c:v>1.447596988998</c:v>
                </c:pt>
                <c:pt idx="1">
                  <c:v>3.9335979790679998</c:v>
                </c:pt>
                <c:pt idx="2">
                  <c:v>4.4862518089719998</c:v>
                </c:pt>
                <c:pt idx="3">
                  <c:v>2.8479886080450001</c:v>
                </c:pt>
                <c:pt idx="4">
                  <c:v>2.8730305838730001</c:v>
                </c:pt>
                <c:pt idx="5">
                  <c:v>6.219017575484</c:v>
                </c:pt>
                <c:pt idx="6">
                  <c:v>8.1120231772090001</c:v>
                </c:pt>
                <c:pt idx="7">
                  <c:v>12.263009277934</c:v>
                </c:pt>
                <c:pt idx="8">
                  <c:v>20.603156708004001</c:v>
                </c:pt>
                <c:pt idx="9">
                  <c:v>29.226640644059</c:v>
                </c:pt>
                <c:pt idx="10">
                  <c:v>30.130636325326002</c:v>
                </c:pt>
                <c:pt idx="11">
                  <c:v>30.416666666666</c:v>
                </c:pt>
                <c:pt idx="12">
                  <c:v>36.279514996808999</c:v>
                </c:pt>
                <c:pt idx="13">
                  <c:v>36.259987431546001</c:v>
                </c:pt>
                <c:pt idx="14">
                  <c:v>31.336405529953002</c:v>
                </c:pt>
                <c:pt idx="15">
                  <c:v>26.067450495048998</c:v>
                </c:pt>
                <c:pt idx="16">
                  <c:v>21.835580687255</c:v>
                </c:pt>
              </c:numCache>
            </c:numRef>
          </c:val>
          <c:smooth val="0"/>
          <c:extLst>
            <c:ext xmlns:c16="http://schemas.microsoft.com/office/drawing/2014/chart" uri="{C3380CC4-5D6E-409C-BE32-E72D297353CC}">
              <c16:uniqueId val="{00000001-BF28-4E8F-8E0F-2E876C5F31D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D$1</c:f>
              <c:strCache>
                <c:ptCount val="1"/>
                <c:pt idx="0">
                  <c:v>5–11 let</c:v>
                </c:pt>
              </c:strCache>
            </c:strRef>
          </c:tx>
          <c:spPr>
            <a:ln w="28575" cap="rnd">
              <a:solidFill>
                <a:schemeClr val="accent1"/>
              </a:solidFill>
              <a:round/>
            </a:ln>
            <a:effectLst/>
          </c:spPr>
          <c:marker>
            <c:symbol val="none"/>
          </c:marker>
          <c:dLbls>
            <c:dLbl>
              <c:idx val="0"/>
              <c:layout>
                <c:manualLayout>
                  <c:x val="0.62941346680703569"/>
                  <c:y val="-0.34288296858021827"/>
                </c:manualLayout>
              </c:layout>
              <c:tx>
                <c:rich>
                  <a:bodyPr/>
                  <a:lstStyle/>
                  <a:p>
                    <a:r>
                      <a:rPr lang="en-US" dirty="0"/>
                      <a:t>26,07</a:t>
                    </a:r>
                    <a:r>
                      <a:rPr lang="en-US" baseline="0" dirty="0"/>
                      <a:t> %</a:t>
                    </a:r>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3684-4A07-8D08-8E2E9C57FFF0}"/>
                </c:ext>
              </c:extLst>
            </c:dLbl>
            <c:dLbl>
              <c:idx val="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3684-4A07-8D08-8E2E9C57FFF0}"/>
                </c:ext>
              </c:extLst>
            </c:dLbl>
            <c:dLbl>
              <c:idx val="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3684-4A07-8D08-8E2E9C57FFF0}"/>
                </c:ext>
              </c:extLst>
            </c:dLbl>
            <c:dLbl>
              <c:idx val="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684-4A07-8D08-8E2E9C57FFF0}"/>
                </c:ext>
              </c:extLst>
            </c:dLbl>
            <c:dLbl>
              <c:idx val="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684-4A07-8D08-8E2E9C57FFF0}"/>
                </c:ext>
              </c:extLst>
            </c:dLbl>
            <c:dLbl>
              <c:idx val="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684-4A07-8D08-8E2E9C57FFF0}"/>
                </c:ext>
              </c:extLst>
            </c:dLbl>
            <c:dLbl>
              <c:idx val="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3684-4A07-8D08-8E2E9C57FFF0}"/>
                </c:ext>
              </c:extLst>
            </c:dLbl>
            <c:dLbl>
              <c:idx val="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3684-4A07-8D08-8E2E9C57FFF0}"/>
                </c:ext>
              </c:extLst>
            </c:dLbl>
            <c:dLbl>
              <c:idx val="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3684-4A07-8D08-8E2E9C57FFF0}"/>
                </c:ext>
              </c:extLst>
            </c:dLbl>
            <c:dLbl>
              <c:idx val="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3684-4A07-8D08-8E2E9C57FFF0}"/>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3684-4A07-8D08-8E2E9C57FFF0}"/>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3684-4A07-8D08-8E2E9C57FFF0}"/>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3684-4A07-8D08-8E2E9C57FFF0}"/>
                </c:ext>
              </c:extLst>
            </c:dLbl>
            <c:dLbl>
              <c:idx val="1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3684-4A07-8D08-8E2E9C57FFF0}"/>
                </c:ext>
              </c:extLst>
            </c:dLbl>
            <c:dLbl>
              <c:idx val="1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3684-4A07-8D08-8E2E9C57FFF0}"/>
                </c:ext>
              </c:extLst>
            </c:dLbl>
            <c:dLbl>
              <c:idx val="1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3684-4A07-8D08-8E2E9C57FFF0}"/>
                </c:ext>
              </c:extLst>
            </c:dLbl>
            <c:dLbl>
              <c:idx val="16"/>
              <c:delete val="1"/>
              <c:extLst>
                <c:ext xmlns:c15="http://schemas.microsoft.com/office/drawing/2012/chart" uri="{CE6537A1-D6FC-4f65-9D91-7224C49458BB}"/>
                <c:ext xmlns:c16="http://schemas.microsoft.com/office/drawing/2014/chart" uri="{C3380CC4-5D6E-409C-BE32-E72D297353CC}">
                  <c16:uniqueId val="{00000000-25CC-4821-92CD-EDCD211A025D}"/>
                </c:ext>
              </c:extLst>
            </c:dLbl>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D$2:$D$18</c:f>
              <c:numCache>
                <c:formatCode>General</c:formatCode>
                <c:ptCount val="17"/>
                <c:pt idx="0">
                  <c:v>0.86145010768100005</c:v>
                </c:pt>
                <c:pt idx="1">
                  <c:v>1.519468186134</c:v>
                </c:pt>
                <c:pt idx="2">
                  <c:v>2.7027027027020001</c:v>
                </c:pt>
                <c:pt idx="3">
                  <c:v>2.19730941704</c:v>
                </c:pt>
                <c:pt idx="4">
                  <c:v>1.109813084112</c:v>
                </c:pt>
                <c:pt idx="5">
                  <c:v>3.3707865168529998</c:v>
                </c:pt>
                <c:pt idx="6">
                  <c:v>4.0281329923270004</c:v>
                </c:pt>
                <c:pt idx="7">
                  <c:v>9.0203685741990007</c:v>
                </c:pt>
                <c:pt idx="8">
                  <c:v>11.352578657152</c:v>
                </c:pt>
                <c:pt idx="9">
                  <c:v>17.856029915861001</c:v>
                </c:pt>
                <c:pt idx="10">
                  <c:v>25.311984930539001</c:v>
                </c:pt>
                <c:pt idx="11">
                  <c:v>28.019085225403</c:v>
                </c:pt>
                <c:pt idx="12">
                  <c:v>32.395135947532999</c:v>
                </c:pt>
                <c:pt idx="13">
                  <c:v>37.646761772502998</c:v>
                </c:pt>
                <c:pt idx="14">
                  <c:v>33.983739837397998</c:v>
                </c:pt>
                <c:pt idx="15">
                  <c:v>30.755287009063</c:v>
                </c:pt>
                <c:pt idx="16">
                  <c:v>26.073985680189999</c:v>
                </c:pt>
              </c:numCache>
            </c:numRef>
          </c:val>
          <c:smooth val="0"/>
          <c:extLst>
            <c:ext xmlns:c15="http://schemas.microsoft.com/office/drawing/2012/chart" uri="{02D57815-91ED-43cb-92C2-25804820EDAC}">
              <c15:datalabelsRange>
                <c15:f>List1!$D$18</c15:f>
                <c15:dlblRangeCache>
                  <c:ptCount val="1"/>
                  <c:pt idx="0">
                    <c:v>26,07398568</c:v>
                  </c:pt>
                </c15:dlblRangeCache>
              </c15:datalabelsRange>
            </c:ext>
            <c:ext xmlns:c16="http://schemas.microsoft.com/office/drawing/2014/chart" uri="{C3380CC4-5D6E-409C-BE32-E72D297353CC}">
              <c16:uniqueId val="{00000001-25CC-4821-92CD-EDCD211A025D}"/>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B$1</c:f>
              <c:strCache>
                <c:ptCount val="1"/>
                <c:pt idx="0">
                  <c:v>0–4 roky</c:v>
                </c:pt>
              </c:strCache>
            </c:strRef>
          </c:tx>
          <c:spPr>
            <a:ln w="28575" cap="rnd">
              <a:solidFill>
                <a:schemeClr val="accent1"/>
              </a:solidFill>
              <a:round/>
            </a:ln>
            <a:effectLst/>
          </c:spPr>
          <c:marker>
            <c:symbol val="none"/>
          </c:marker>
          <c:dLbls>
            <c:dLbl>
              <c:idx val="16"/>
              <c:layout>
                <c:manualLayout>
                  <c:x val="-4.3003404564455852E-2"/>
                  <c:y val="-6.1061350569079964E-2"/>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429-49AD-8C08-50BB1E9D69D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B$2:$B$18</c:f>
              <c:numCache>
                <c:formatCode>General</c:formatCode>
                <c:ptCount val="17"/>
                <c:pt idx="0">
                  <c:v>1.25</c:v>
                </c:pt>
                <c:pt idx="1">
                  <c:v>0.74074074073999996</c:v>
                </c:pt>
                <c:pt idx="2">
                  <c:v>0.74626865671599996</c:v>
                </c:pt>
                <c:pt idx="3">
                  <c:v>0.907258064516</c:v>
                </c:pt>
                <c:pt idx="4">
                  <c:v>1.171875</c:v>
                </c:pt>
                <c:pt idx="5">
                  <c:v>2.4</c:v>
                </c:pt>
                <c:pt idx="6">
                  <c:v>1.853658536585</c:v>
                </c:pt>
                <c:pt idx="7">
                  <c:v>1.9884009942</c:v>
                </c:pt>
                <c:pt idx="8">
                  <c:v>4.9504950495040001</c:v>
                </c:pt>
                <c:pt idx="9">
                  <c:v>6.8823124569849998</c:v>
                </c:pt>
                <c:pt idx="10">
                  <c:v>12.518409425625</c:v>
                </c:pt>
                <c:pt idx="11">
                  <c:v>13.092633114513999</c:v>
                </c:pt>
                <c:pt idx="12">
                  <c:v>16.687041564792001</c:v>
                </c:pt>
                <c:pt idx="13">
                  <c:v>20.314164004258998</c:v>
                </c:pt>
                <c:pt idx="14">
                  <c:v>21.929824561402999</c:v>
                </c:pt>
                <c:pt idx="15">
                  <c:v>17.747440273037</c:v>
                </c:pt>
                <c:pt idx="16">
                  <c:v>17.941454202077001</c:v>
                </c:pt>
              </c:numCache>
            </c:numRef>
          </c:val>
          <c:smooth val="0"/>
          <c:extLst>
            <c:ext xmlns:c16="http://schemas.microsoft.com/office/drawing/2014/chart" uri="{C3380CC4-5D6E-409C-BE32-E72D297353CC}">
              <c16:uniqueId val="{00000001-0429-49AD-8C08-50BB1E9D69DA}"/>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D$1</c:f>
              <c:strCache>
                <c:ptCount val="1"/>
                <c:pt idx="0">
                  <c:v>5–11 let</c:v>
                </c:pt>
              </c:strCache>
            </c:strRef>
          </c:tx>
          <c:spPr>
            <a:ln w="28575" cap="rnd">
              <a:solidFill>
                <a:schemeClr val="accent1"/>
              </a:solidFill>
              <a:round/>
            </a:ln>
            <a:effectLst/>
          </c:spPr>
          <c:marker>
            <c:symbol val="none"/>
          </c:marker>
          <c:dLbls>
            <c:dLbl>
              <c:idx val="16"/>
              <c:layout>
                <c:manualLayout>
                  <c:x val="-1.5947271038939594E-2"/>
                  <c:y val="5.9799817304495163E-2"/>
                </c:manualLayout>
              </c:layout>
              <c:tx>
                <c:rich>
                  <a:bodyPr/>
                  <a:lstStyle/>
                  <a:p>
                    <a:r>
                      <a:rPr lang="en-US" dirty="0"/>
                      <a:t>9,93 %</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C59-4D78-B4D2-43F5B7562F2C}"/>
                </c:ext>
              </c:extLst>
            </c:dLbl>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D$2:$D$18</c:f>
              <c:numCache>
                <c:formatCode>General</c:formatCode>
                <c:ptCount val="17"/>
                <c:pt idx="0">
                  <c:v>0.51250626706000002</c:v>
                </c:pt>
                <c:pt idx="1">
                  <c:v>0.51786446108499995</c:v>
                </c:pt>
                <c:pt idx="2">
                  <c:v>1.690652508034</c:v>
                </c:pt>
                <c:pt idx="3">
                  <c:v>1.582717190388</c:v>
                </c:pt>
                <c:pt idx="4">
                  <c:v>1.6246142675619999</c:v>
                </c:pt>
                <c:pt idx="5">
                  <c:v>2.431968619759</c:v>
                </c:pt>
                <c:pt idx="6">
                  <c:v>2.9776054047290001</c:v>
                </c:pt>
                <c:pt idx="7">
                  <c:v>4.0929364778590003</c:v>
                </c:pt>
                <c:pt idx="8">
                  <c:v>5.0369912566119996</c:v>
                </c:pt>
                <c:pt idx="9">
                  <c:v>5.5105702472890004</c:v>
                </c:pt>
                <c:pt idx="10">
                  <c:v>9.1179496772980002</c:v>
                </c:pt>
                <c:pt idx="11">
                  <c:v>10.71137475095</c:v>
                </c:pt>
                <c:pt idx="12">
                  <c:v>13.409563409563001</c:v>
                </c:pt>
                <c:pt idx="13">
                  <c:v>13.757662254987</c:v>
                </c:pt>
                <c:pt idx="14">
                  <c:v>12.524127456254</c:v>
                </c:pt>
                <c:pt idx="15">
                  <c:v>11.428276408026001</c:v>
                </c:pt>
                <c:pt idx="16">
                  <c:v>9.9319829583669996</c:v>
                </c:pt>
              </c:numCache>
            </c:numRef>
          </c:val>
          <c:smooth val="0"/>
          <c:extLst>
            <c:ext xmlns:c16="http://schemas.microsoft.com/office/drawing/2014/chart" uri="{C3380CC4-5D6E-409C-BE32-E72D297353CC}">
              <c16:uniqueId val="{00000001-BC59-4D78-B4D2-43F5B7562F2C}"/>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B$1</c:f>
              <c:strCache>
                <c:ptCount val="1"/>
                <c:pt idx="0">
                  <c:v>0–4 roky</c:v>
                </c:pt>
              </c:strCache>
            </c:strRef>
          </c:tx>
          <c:spPr>
            <a:ln w="28575" cap="rnd">
              <a:solidFill>
                <a:schemeClr val="accent1"/>
              </a:solidFill>
              <a:round/>
            </a:ln>
            <a:effectLst/>
          </c:spPr>
          <c:marker>
            <c:symbol val="none"/>
          </c:marker>
          <c:dLbls>
            <c:dLbl>
              <c:idx val="16"/>
              <c:layout>
                <c:manualLayout>
                  <c:x val="-1.1728201244851596E-2"/>
                  <c:y val="-9.3940539337046075E-2"/>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CC-4C95-AF08-52F2B2691AF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5.08 - 31.08</c:v>
                </c:pt>
                <c:pt idx="1">
                  <c:v>01.09 - 07.09</c:v>
                </c:pt>
                <c:pt idx="2">
                  <c:v>08.09 - 14.09</c:v>
                </c:pt>
                <c:pt idx="3">
                  <c:v>15.09 - 21.09</c:v>
                </c:pt>
                <c:pt idx="4">
                  <c:v>22.09 - 28.09</c:v>
                </c:pt>
                <c:pt idx="5">
                  <c:v>29.09 - 05.10</c:v>
                </c:pt>
                <c:pt idx="6">
                  <c:v>06.10 - 12.10</c:v>
                </c:pt>
                <c:pt idx="7">
                  <c:v>13.10 - 19.10</c:v>
                </c:pt>
                <c:pt idx="8">
                  <c:v>20.10 - 26.10</c:v>
                </c:pt>
                <c:pt idx="9">
                  <c:v>27.10 - 02.11</c:v>
                </c:pt>
                <c:pt idx="10">
                  <c:v>03.11 - 09.11</c:v>
                </c:pt>
                <c:pt idx="11">
                  <c:v>10.11 - 16.11</c:v>
                </c:pt>
                <c:pt idx="12">
                  <c:v>17.11 - 23.11</c:v>
                </c:pt>
                <c:pt idx="13">
                  <c:v>24.11 - 30.11</c:v>
                </c:pt>
                <c:pt idx="14">
                  <c:v>01.12 - 07.12</c:v>
                </c:pt>
                <c:pt idx="15">
                  <c:v>08.12 - 14.12</c:v>
                </c:pt>
                <c:pt idx="16">
                  <c:v>15.12 - 22.12</c:v>
                </c:pt>
              </c:strCache>
            </c:strRef>
          </c:cat>
          <c:val>
            <c:numRef>
              <c:f>List1!$B$2:$B$18</c:f>
              <c:numCache>
                <c:formatCode>General</c:formatCode>
                <c:ptCount val="17"/>
                <c:pt idx="0">
                  <c:v>2.277432712215</c:v>
                </c:pt>
                <c:pt idx="1">
                  <c:v>5.3932584269659998</c:v>
                </c:pt>
                <c:pt idx="2">
                  <c:v>2.9808374733849998</c:v>
                </c:pt>
                <c:pt idx="3">
                  <c:v>2.9690461149709999</c:v>
                </c:pt>
                <c:pt idx="4">
                  <c:v>4.3235704323570001</c:v>
                </c:pt>
                <c:pt idx="5">
                  <c:v>4.4307347167689999</c:v>
                </c:pt>
                <c:pt idx="6">
                  <c:v>6.1598951507199997</c:v>
                </c:pt>
                <c:pt idx="7">
                  <c:v>5.9604519774010001</c:v>
                </c:pt>
                <c:pt idx="8">
                  <c:v>6.4166988790100001</c:v>
                </c:pt>
                <c:pt idx="9">
                  <c:v>7.7737940026069996</c:v>
                </c:pt>
                <c:pt idx="10">
                  <c:v>10.247632089467</c:v>
                </c:pt>
                <c:pt idx="11">
                  <c:v>8.7584591358659996</c:v>
                </c:pt>
                <c:pt idx="12">
                  <c:v>9.4552180248849993</c:v>
                </c:pt>
                <c:pt idx="13">
                  <c:v>10.708417445189999</c:v>
                </c:pt>
                <c:pt idx="14">
                  <c:v>10.346585117227001</c:v>
                </c:pt>
                <c:pt idx="15">
                  <c:v>9.8348277489380003</c:v>
                </c:pt>
                <c:pt idx="16">
                  <c:v>10.313627193249999</c:v>
                </c:pt>
              </c:numCache>
            </c:numRef>
          </c:val>
          <c:smooth val="0"/>
          <c:extLst>
            <c:ext xmlns:c16="http://schemas.microsoft.com/office/drawing/2014/chart" uri="{C3380CC4-5D6E-409C-BE32-E72D297353CC}">
              <c16:uniqueId val="{00000001-59CC-4C95-AF08-52F2B2691AF8}"/>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F9534-E31E-47A6-B3B5-39567348889D}" type="datetimeFigureOut">
              <a:rPr lang="cs-CZ" smtClean="0"/>
              <a:t>30.12.2021</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488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2413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en-US" dirty="0"/>
          </a:p>
        </p:txBody>
      </p:sp>
      <p:sp>
        <p:nvSpPr>
          <p:cNvPr id="4" name="Zástupný symbol pro číslo snímku 3"/>
          <p:cNvSpPr>
            <a:spLocks noGrp="1"/>
          </p:cNvSpPr>
          <p:nvPr>
            <p:ph type="sldNum" sz="quarter" idx="5"/>
          </p:nvPr>
        </p:nvSpPr>
        <p:spPr/>
        <p:txBody>
          <a:bodyPr/>
          <a:lstStyle/>
          <a:p>
            <a:fld id="{913B4F48-45DA-4A93-94D7-4559DBB1A6C9}" type="slidenum">
              <a:rPr lang="cs-CZ" smtClean="0"/>
              <a:t>34</a:t>
            </a:fld>
            <a:endParaRPr lang="cs-CZ"/>
          </a:p>
        </p:txBody>
      </p:sp>
    </p:spTree>
    <p:extLst>
      <p:ext uri="{BB962C8B-B14F-4D97-AF65-F5344CB8AC3E}">
        <p14:creationId xmlns:p14="http://schemas.microsoft.com/office/powerpoint/2010/main" val="2795065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AD0F-0DC9-4FF9-A1AD-81BDA829852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90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774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53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9957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1292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6424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AD0F-0DC9-4FF9-A1AD-81BDA829852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746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AD0F-0DC9-4FF9-A1AD-81BDA829852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7549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7277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emf"/><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image" Target="../media/image7.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4.svg"/><Relationship Id="rId4" Type="http://schemas.openxmlformats.org/officeDocument/2006/relationships/image" Target="../media/image1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4.svg"/><Relationship Id="rId4" Type="http://schemas.openxmlformats.org/officeDocument/2006/relationships/image" Target="../media/image1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4.svg"/><Relationship Id="rId4" Type="http://schemas.openxmlformats.org/officeDocument/2006/relationships/image" Target="../media/image1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7.png"/><Relationship Id="rId1" Type="http://schemas.openxmlformats.org/officeDocument/2006/relationships/slideMaster" Target="../slideMasters/slideMaster5.xml"/><Relationship Id="rId6" Type="http://schemas.openxmlformats.org/officeDocument/2006/relationships/image" Target="../media/image7.svg"/><Relationship Id="rId5" Type="http://schemas.openxmlformats.org/officeDocument/2006/relationships/image" Target="../media/image18.png"/><Relationship Id="rId4" Type="http://schemas.openxmlformats.org/officeDocument/2006/relationships/image" Target="../media/image9.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4.svg"/><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image" Target="../media/image7.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emf"/><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20.png"/><Relationship Id="rId4" Type="http://schemas.openxmlformats.org/officeDocument/2006/relationships/image" Target="../media/image7.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21.pn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4.svg"/><Relationship Id="rId4" Type="http://schemas.openxmlformats.org/officeDocument/2006/relationships/image" Target="../media/image22.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21.pn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4.svg"/><Relationship Id="rId4" Type="http://schemas.openxmlformats.org/officeDocument/2006/relationships/image" Target="../media/image22.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21.pn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4.svg"/><Relationship Id="rId4" Type="http://schemas.openxmlformats.org/officeDocument/2006/relationships/image" Target="../media/image22.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4.png"/><Relationship Id="rId1" Type="http://schemas.openxmlformats.org/officeDocument/2006/relationships/slideMaster" Target="../slideMasters/slideMaster6.xml"/><Relationship Id="rId6" Type="http://schemas.openxmlformats.org/officeDocument/2006/relationships/image" Target="../media/image7.sv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21.pn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4.svg"/><Relationship Id="rId4" Type="http://schemas.openxmlformats.org/officeDocument/2006/relationships/image" Target="../media/image2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20.png"/><Relationship Id="rId4" Type="http://schemas.openxmlformats.org/officeDocument/2006/relationships/image" Target="../media/image7.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31335381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751BB3-54BB-497C-9D87-7331E63652A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169F060A-A852-4CAC-8567-9FF26BE22C4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DA874AFF-9D96-448C-A700-2FC369C17CFA}"/>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4FEB687C-F962-4BE7-8278-3C31FC255F05}"/>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6" name="Zástupný symbol pro zápatí 5">
            <a:extLst>
              <a:ext uri="{FF2B5EF4-FFF2-40B4-BE49-F238E27FC236}">
                <a16:creationId xmlns:a16="http://schemas.microsoft.com/office/drawing/2014/main" id="{C8620F06-EBA0-40CC-9A9C-15001C536D5E}"/>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D0FDE4CA-77DD-417D-8C54-07ECB9628C80}"/>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2391258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3EF8E94-026C-4341-B09E-E0FB30A2BAB9}"/>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90670218-0D2B-45AF-8CEE-4DF7A0BA978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BFFD3F4B-DA25-4423-9234-6270FB4E0C12}"/>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57E2AC16-B4BF-4A45-92DD-CD16581B2D7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7000A558-D06F-4CAD-88FC-71F13523FA65}"/>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118A76E9-680A-4BC2-86CB-5D2DB66F56C3}"/>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8" name="Zástupný symbol pro zápatí 7">
            <a:extLst>
              <a:ext uri="{FF2B5EF4-FFF2-40B4-BE49-F238E27FC236}">
                <a16:creationId xmlns:a16="http://schemas.microsoft.com/office/drawing/2014/main" id="{1152DBE4-0E61-401B-BD63-91D12BCAE9C0}"/>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C424E131-06CD-4DDF-BC06-F98D2D3B9BCC}"/>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3615191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85B3AFD-D5D4-46CB-9F1D-95D2EFDFBB2A}"/>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1BD99F9-6247-4A54-87C4-9749A54B1A78}"/>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4" name="Zástupný symbol pro zápatí 3">
            <a:extLst>
              <a:ext uri="{FF2B5EF4-FFF2-40B4-BE49-F238E27FC236}">
                <a16:creationId xmlns:a16="http://schemas.microsoft.com/office/drawing/2014/main" id="{F8DBF052-AB7F-4048-9680-0492DCE6D0AF}"/>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B92A02BA-2BB6-4CF6-8B58-CFAA66013A03}"/>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836112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D612E4EC-12D7-42E4-AE43-F6D7008AB302}"/>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3" name="Zástupný symbol pro zápatí 2">
            <a:extLst>
              <a:ext uri="{FF2B5EF4-FFF2-40B4-BE49-F238E27FC236}">
                <a16:creationId xmlns:a16="http://schemas.microsoft.com/office/drawing/2014/main" id="{2706D130-0739-4330-9775-702FDF7EE7BC}"/>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A94FAE36-22DA-4CEF-82CE-F85F3D6E5E60}"/>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918940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C0AC2F0-B610-42BD-9258-BE4E8A4796FB}"/>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9594586C-48B1-4459-A0A6-DFA4C0FE38A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7618E00B-DFA9-4ABA-9E89-EC4C6B3AC9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0E3D956F-D736-467D-809E-A6B8EBBB7B49}"/>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6" name="Zástupný symbol pro zápatí 5">
            <a:extLst>
              <a:ext uri="{FF2B5EF4-FFF2-40B4-BE49-F238E27FC236}">
                <a16:creationId xmlns:a16="http://schemas.microsoft.com/office/drawing/2014/main" id="{EA2BC7A4-764C-4169-ADBC-7F1248B44C3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B88FFD62-2584-4271-8B43-930689E422C1}"/>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8041965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55F6CA7-4510-4C38-AB29-269B0667E781}"/>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525F525D-76F8-4F89-ACDB-370F1E3E47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0513CD65-3F93-416A-8079-50A6B39FD2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6FE6EB9A-EACF-42B5-8677-B501B2A425BD}"/>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6" name="Zástupný symbol pro zápatí 5">
            <a:extLst>
              <a:ext uri="{FF2B5EF4-FFF2-40B4-BE49-F238E27FC236}">
                <a16:creationId xmlns:a16="http://schemas.microsoft.com/office/drawing/2014/main" id="{C6CB2E11-5C59-4983-B23C-94050313564F}"/>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A284666C-EC8D-44A8-94DD-5735F9059458}"/>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5539312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7C593D8-E6C3-42E0-91E5-34BBFE7635C1}"/>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07D27C9F-D286-49AD-B637-AB03985B6A0B}"/>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60051D3F-4680-4DFE-9D28-92707289CE66}"/>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5" name="Zástupný symbol pro zápatí 4">
            <a:extLst>
              <a:ext uri="{FF2B5EF4-FFF2-40B4-BE49-F238E27FC236}">
                <a16:creationId xmlns:a16="http://schemas.microsoft.com/office/drawing/2014/main" id="{31A2C8DA-A4B9-4CA7-8902-C297ECB62BF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14C9B13D-3976-43E2-9805-3E309ABC7563}"/>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22496725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2A4CD9B6-8A80-4B59-B5D5-0A7202A073EB}"/>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3D6E8B14-04CE-430A-97C5-E63E3AC6241F}"/>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CA124C15-1E21-44AA-B0CF-567922D2D99B}"/>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5" name="Zástupný symbol pro zápatí 4">
            <a:extLst>
              <a:ext uri="{FF2B5EF4-FFF2-40B4-BE49-F238E27FC236}">
                <a16:creationId xmlns:a16="http://schemas.microsoft.com/office/drawing/2014/main" id="{277C4AD0-92D5-4BED-AD8D-2078F6B78AF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0065E49F-34C0-46C8-AAEF-3C9FAFE7C29D}"/>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7044533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30939022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10" name="Obdélník 9">
            <a:extLst>
              <a:ext uri="{FF2B5EF4-FFF2-40B4-BE49-F238E27FC236}">
                <a16:creationId xmlns:a16="http://schemas.microsoft.com/office/drawing/2014/main" id="{5920C5AB-7E0D-4B8A-92A9-7DA47D440BBD}"/>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3" name="Zástupný obsah 2">
            <a:extLst>
              <a:ext uri="{FF2B5EF4-FFF2-40B4-BE49-F238E27FC236}">
                <a16:creationId xmlns:a16="http://schemas.microsoft.com/office/drawing/2014/main" id="{5CD1A40D-4F09-4D08-916F-43B796F44A47}"/>
              </a:ext>
            </a:extLst>
          </p:cNvPr>
          <p:cNvSpPr>
            <a:spLocks noGrp="1"/>
          </p:cNvSpPr>
          <p:nvPr>
            <p:ph idx="1"/>
          </p:nvPr>
        </p:nvSpPr>
        <p:spPr>
          <a:xfrm>
            <a:off x="381739" y="1825625"/>
            <a:ext cx="11487705" cy="4351338"/>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4" name="Nadpis 1">
            <a:extLst>
              <a:ext uri="{FF2B5EF4-FFF2-40B4-BE49-F238E27FC236}">
                <a16:creationId xmlns:a16="http://schemas.microsoft.com/office/drawing/2014/main" id="{635F49FF-6718-4CE1-A42C-74D8FC3B4218}"/>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grpSp>
        <p:nvGrpSpPr>
          <p:cNvPr id="15" name="Skupina 14">
            <a:extLst>
              <a:ext uri="{FF2B5EF4-FFF2-40B4-BE49-F238E27FC236}">
                <a16:creationId xmlns:a16="http://schemas.microsoft.com/office/drawing/2014/main" id="{A5367FD4-1AA0-460C-B73C-7D7567665B93}"/>
              </a:ext>
            </a:extLst>
          </p:cNvPr>
          <p:cNvGrpSpPr/>
          <p:nvPr userDrawn="1"/>
        </p:nvGrpSpPr>
        <p:grpSpPr>
          <a:xfrm>
            <a:off x="7146337" y="420847"/>
            <a:ext cx="4962987" cy="635942"/>
            <a:chOff x="3783104" y="781489"/>
            <a:chExt cx="6199096" cy="931105"/>
          </a:xfrm>
        </p:grpSpPr>
        <p:pic>
          <p:nvPicPr>
            <p:cNvPr id="16" name="Obrázek 15">
              <a:extLst>
                <a:ext uri="{FF2B5EF4-FFF2-40B4-BE49-F238E27FC236}">
                  <a16:creationId xmlns:a16="http://schemas.microsoft.com/office/drawing/2014/main" id="{36D59138-B214-4FC1-9898-96D78BF9475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7" name="Obrázek 16">
              <a:extLst>
                <a:ext uri="{FF2B5EF4-FFF2-40B4-BE49-F238E27FC236}">
                  <a16:creationId xmlns:a16="http://schemas.microsoft.com/office/drawing/2014/main" id="{C99D30FB-B17A-485F-8C33-36B649E5FF8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Tree>
    <p:extLst>
      <p:ext uri="{BB962C8B-B14F-4D97-AF65-F5344CB8AC3E}">
        <p14:creationId xmlns:p14="http://schemas.microsoft.com/office/powerpoint/2010/main" val="3307010910"/>
      </p:ext>
    </p:extLst>
  </p:cSld>
  <p:clrMapOvr>
    <a:masterClrMapping/>
  </p:clrMapOvr>
  <p:extLst>
    <p:ext uri="{DCECCB84-F9BA-43D5-87BE-67443E8EF086}">
      <p15:sldGuideLst xmlns:p15="http://schemas.microsoft.com/office/powerpoint/2012/main">
        <p15:guide id="1" orient="horz" pos="414">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10" name="Obdélník 9">
            <a:extLst>
              <a:ext uri="{FF2B5EF4-FFF2-40B4-BE49-F238E27FC236}">
                <a16:creationId xmlns:a16="http://schemas.microsoft.com/office/drawing/2014/main" id="{5920C5AB-7E0D-4B8A-92A9-7DA47D440BBD}"/>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3" name="Zástupný obsah 2">
            <a:extLst>
              <a:ext uri="{FF2B5EF4-FFF2-40B4-BE49-F238E27FC236}">
                <a16:creationId xmlns:a16="http://schemas.microsoft.com/office/drawing/2014/main" id="{5CD1A40D-4F09-4D08-916F-43B796F44A47}"/>
              </a:ext>
            </a:extLst>
          </p:cNvPr>
          <p:cNvSpPr>
            <a:spLocks noGrp="1"/>
          </p:cNvSpPr>
          <p:nvPr>
            <p:ph idx="1"/>
          </p:nvPr>
        </p:nvSpPr>
        <p:spPr>
          <a:xfrm>
            <a:off x="381739" y="1825625"/>
            <a:ext cx="11487705" cy="4351338"/>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4" name="Nadpis 1">
            <a:extLst>
              <a:ext uri="{FF2B5EF4-FFF2-40B4-BE49-F238E27FC236}">
                <a16:creationId xmlns:a16="http://schemas.microsoft.com/office/drawing/2014/main" id="{635F49FF-6718-4CE1-A42C-74D8FC3B4218}"/>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grpSp>
        <p:nvGrpSpPr>
          <p:cNvPr id="15" name="Skupina 14">
            <a:extLst>
              <a:ext uri="{FF2B5EF4-FFF2-40B4-BE49-F238E27FC236}">
                <a16:creationId xmlns:a16="http://schemas.microsoft.com/office/drawing/2014/main" id="{A5367FD4-1AA0-460C-B73C-7D7567665B93}"/>
              </a:ext>
            </a:extLst>
          </p:cNvPr>
          <p:cNvGrpSpPr/>
          <p:nvPr userDrawn="1"/>
        </p:nvGrpSpPr>
        <p:grpSpPr>
          <a:xfrm>
            <a:off x="7146337" y="420847"/>
            <a:ext cx="4962987" cy="635942"/>
            <a:chOff x="3783104" y="781489"/>
            <a:chExt cx="6199096" cy="931105"/>
          </a:xfrm>
        </p:grpSpPr>
        <p:pic>
          <p:nvPicPr>
            <p:cNvPr id="16" name="Obrázek 15">
              <a:extLst>
                <a:ext uri="{FF2B5EF4-FFF2-40B4-BE49-F238E27FC236}">
                  <a16:creationId xmlns:a16="http://schemas.microsoft.com/office/drawing/2014/main" id="{36D59138-B214-4FC1-9898-96D78BF9475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7" name="Obrázek 16">
              <a:extLst>
                <a:ext uri="{FF2B5EF4-FFF2-40B4-BE49-F238E27FC236}">
                  <a16:creationId xmlns:a16="http://schemas.microsoft.com/office/drawing/2014/main" id="{C99D30FB-B17A-485F-8C33-36B649E5FF8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Tree>
    <p:extLst>
      <p:ext uri="{BB962C8B-B14F-4D97-AF65-F5344CB8AC3E}">
        <p14:creationId xmlns:p14="http://schemas.microsoft.com/office/powerpoint/2010/main" val="1597903156"/>
      </p:ext>
    </p:extLst>
  </p:cSld>
  <p:clrMapOvr>
    <a:masterClrMapping/>
  </p:clrMapOvr>
  <p:extLst>
    <p:ext uri="{DCECCB84-F9BA-43D5-87BE-67443E8EF086}">
      <p15:sldGuideLst xmlns:p15="http://schemas.microsoft.com/office/powerpoint/2012/main">
        <p15:guide id="1" orient="horz" pos="414">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40EF74F-5572-4E88-BDB6-732EFDF9A064}"/>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pic>
        <p:nvPicPr>
          <p:cNvPr id="13" name="Obrázek 12">
            <a:extLst>
              <a:ext uri="{FF2B5EF4-FFF2-40B4-BE49-F238E27FC236}">
                <a16:creationId xmlns:a16="http://schemas.microsoft.com/office/drawing/2014/main" id="{7ACC8354-5878-430C-A84E-8418F73DA8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8761124" y="427270"/>
            <a:ext cx="3348200" cy="629518"/>
          </a:xfrm>
          <a:prstGeom prst="rect">
            <a:avLst/>
          </a:prstGeom>
        </p:spPr>
      </p:pic>
      <p:grpSp>
        <p:nvGrpSpPr>
          <p:cNvPr id="14" name="Skupina 13">
            <a:extLst>
              <a:ext uri="{FF2B5EF4-FFF2-40B4-BE49-F238E27FC236}">
                <a16:creationId xmlns:a16="http://schemas.microsoft.com/office/drawing/2014/main" id="{F87F3FC9-A29E-4C5B-A820-1CE817C19E7A}"/>
              </a:ext>
            </a:extLst>
          </p:cNvPr>
          <p:cNvGrpSpPr/>
          <p:nvPr userDrawn="1"/>
        </p:nvGrpSpPr>
        <p:grpSpPr>
          <a:xfrm>
            <a:off x="7146337" y="420847"/>
            <a:ext cx="4962987" cy="635942"/>
            <a:chOff x="3783104" y="781489"/>
            <a:chExt cx="6199096" cy="931105"/>
          </a:xfrm>
        </p:grpSpPr>
        <p:pic>
          <p:nvPicPr>
            <p:cNvPr id="15" name="Obrázek 14">
              <a:extLst>
                <a:ext uri="{FF2B5EF4-FFF2-40B4-BE49-F238E27FC236}">
                  <a16:creationId xmlns:a16="http://schemas.microsoft.com/office/drawing/2014/main" id="{88C88485-1FA6-42BC-89DE-25EBC5C93E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6" name="Obrázek 15">
              <a:extLst>
                <a:ext uri="{FF2B5EF4-FFF2-40B4-BE49-F238E27FC236}">
                  <a16:creationId xmlns:a16="http://schemas.microsoft.com/office/drawing/2014/main" id="{2861DD9B-1BC7-426A-81C6-0DC72A659A1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
        <p:nvSpPr>
          <p:cNvPr id="21" name="Nadpis 1">
            <a:extLst>
              <a:ext uri="{FF2B5EF4-FFF2-40B4-BE49-F238E27FC236}">
                <a16:creationId xmlns:a16="http://schemas.microsoft.com/office/drawing/2014/main" id="{A9AB94AD-4B9F-4F63-B34A-76C56085093C}"/>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spTree>
    <p:extLst>
      <p:ext uri="{BB962C8B-B14F-4D97-AF65-F5344CB8AC3E}">
        <p14:creationId xmlns:p14="http://schemas.microsoft.com/office/powerpoint/2010/main" val="2739866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242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30.12.2021</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32561157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24114771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1417761095"/>
      </p:ext>
    </p:extLst>
  </p:cSld>
  <p:clrMapOvr>
    <a:masterClrMapping/>
  </p:clrMapOvr>
  <p:extLst>
    <p:ext uri="{DCECCB84-F9BA-43D5-87BE-67443E8EF086}">
      <p15:sldGuideLst xmlns:p15="http://schemas.microsoft.com/office/powerpoint/2012/main">
        <p15:guide id="1" orient="horz" pos="777">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321461709"/>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36155840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8196915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23500547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760119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40EF74F-5572-4E88-BDB6-732EFDF9A064}"/>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pic>
        <p:nvPicPr>
          <p:cNvPr id="13" name="Obrázek 12">
            <a:extLst>
              <a:ext uri="{FF2B5EF4-FFF2-40B4-BE49-F238E27FC236}">
                <a16:creationId xmlns:a16="http://schemas.microsoft.com/office/drawing/2014/main" id="{7ACC8354-5878-430C-A84E-8418F73DA8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8761124" y="427270"/>
            <a:ext cx="3348200" cy="629518"/>
          </a:xfrm>
          <a:prstGeom prst="rect">
            <a:avLst/>
          </a:prstGeom>
        </p:spPr>
      </p:pic>
      <p:grpSp>
        <p:nvGrpSpPr>
          <p:cNvPr id="14" name="Skupina 13">
            <a:extLst>
              <a:ext uri="{FF2B5EF4-FFF2-40B4-BE49-F238E27FC236}">
                <a16:creationId xmlns:a16="http://schemas.microsoft.com/office/drawing/2014/main" id="{F87F3FC9-A29E-4C5B-A820-1CE817C19E7A}"/>
              </a:ext>
            </a:extLst>
          </p:cNvPr>
          <p:cNvGrpSpPr/>
          <p:nvPr userDrawn="1"/>
        </p:nvGrpSpPr>
        <p:grpSpPr>
          <a:xfrm>
            <a:off x="7146337" y="420847"/>
            <a:ext cx="4962987" cy="635942"/>
            <a:chOff x="3783104" y="781489"/>
            <a:chExt cx="6199096" cy="931105"/>
          </a:xfrm>
        </p:grpSpPr>
        <p:pic>
          <p:nvPicPr>
            <p:cNvPr id="15" name="Obrázek 14">
              <a:extLst>
                <a:ext uri="{FF2B5EF4-FFF2-40B4-BE49-F238E27FC236}">
                  <a16:creationId xmlns:a16="http://schemas.microsoft.com/office/drawing/2014/main" id="{88C88485-1FA6-42BC-89DE-25EBC5C93E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6" name="Obrázek 15">
              <a:extLst>
                <a:ext uri="{FF2B5EF4-FFF2-40B4-BE49-F238E27FC236}">
                  <a16:creationId xmlns:a16="http://schemas.microsoft.com/office/drawing/2014/main" id="{2861DD9B-1BC7-426A-81C6-0DC72A659A1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
        <p:nvSpPr>
          <p:cNvPr id="21" name="Nadpis 1">
            <a:extLst>
              <a:ext uri="{FF2B5EF4-FFF2-40B4-BE49-F238E27FC236}">
                <a16:creationId xmlns:a16="http://schemas.microsoft.com/office/drawing/2014/main" id="{A9AB94AD-4B9F-4F63-B34A-76C56085093C}"/>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spTree>
    <p:extLst>
      <p:ext uri="{BB962C8B-B14F-4D97-AF65-F5344CB8AC3E}">
        <p14:creationId xmlns:p14="http://schemas.microsoft.com/office/powerpoint/2010/main" val="15633378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310647388"/>
      </p:ext>
    </p:extLst>
  </p:cSld>
  <p:clrMapOvr>
    <a:masterClrMapping/>
  </p:clrMapOvr>
  <p:extLst>
    <p:ext uri="{DCECCB84-F9BA-43D5-87BE-67443E8EF086}">
      <p15:sldGuideLst xmlns:p15="http://schemas.microsoft.com/office/powerpoint/2012/main">
        <p15:guide id="1" orient="horz" pos="411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2455410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14159AF-26F1-42E1-BF83-F89C20A19403}" type="datetimeFigureOut">
              <a:rPr lang="cs-CZ" smtClean="0"/>
              <a:t>30.12.2021</a:t>
            </a:fld>
            <a:endParaRPr lang="cs-CZ"/>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6009916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30962895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674933202"/>
      </p:ext>
    </p:extLst>
  </p:cSld>
  <p:clrMapOvr>
    <a:masterClrMapping/>
  </p:clrMapOvr>
  <p:extLst>
    <p:ext uri="{DCECCB84-F9BA-43D5-87BE-67443E8EF086}">
      <p15:sldGuideLst xmlns:p15="http://schemas.microsoft.com/office/powerpoint/2012/main">
        <p15:guide id="1" orient="horz" pos="777">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3643543722"/>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31317701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24042596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203872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8253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7248042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2357408244"/>
      </p:ext>
    </p:extLst>
  </p:cSld>
  <p:clrMapOvr>
    <a:masterClrMapping/>
  </p:clrMapOvr>
  <p:extLst>
    <p:ext uri="{DCECCB84-F9BA-43D5-87BE-67443E8EF086}">
      <p15:sldGuideLst xmlns:p15="http://schemas.microsoft.com/office/powerpoint/2012/main">
        <p15:guide id="1" orient="horz" pos="411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12887671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14159AF-26F1-42E1-BF83-F89C20A19403}" type="datetimeFigureOut">
              <a:rPr lang="cs-CZ" smtClean="0"/>
              <a:t>30.12.2021</a:t>
            </a:fld>
            <a:endParaRPr lang="cs-CZ"/>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17248495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34483061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895747243"/>
      </p:ext>
    </p:extLst>
  </p:cSld>
  <p:clrMapOvr>
    <a:masterClrMapping/>
  </p:clrMapOvr>
  <p:extLst>
    <p:ext uri="{DCECCB84-F9BA-43D5-87BE-67443E8EF086}">
      <p15:sldGuideLst xmlns:p15="http://schemas.microsoft.com/office/powerpoint/2012/main">
        <p15:guide id="1" orient="horz" pos="777">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3201167246"/>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42028207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30940607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32052208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6344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4159AF-26F1-42E1-BF83-F89C20A19403}"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12.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1DE3A8-275C-4F7D-9678-21DFF80A7010}"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8019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314994046"/>
      </p:ext>
    </p:extLst>
  </p:cSld>
  <p:clrMapOvr>
    <a:masterClrMapping/>
  </p:clrMapOvr>
  <p:extLst>
    <p:ext uri="{DCECCB84-F9BA-43D5-87BE-67443E8EF086}">
      <p15:sldGuideLst xmlns:p15="http://schemas.microsoft.com/office/powerpoint/2012/main">
        <p15:guide id="1" orient="horz" pos="411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17021395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3276551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4343129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BA61EBA-4FFF-4673-9BA0-55E82F992597}"/>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66FDA1FA-15B4-46DB-8563-9D168899EC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D0E34FA4-860E-40B4-97AD-3CF9B2CE905E}"/>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5" name="Zástupný symbol pro zápatí 4">
            <a:extLst>
              <a:ext uri="{FF2B5EF4-FFF2-40B4-BE49-F238E27FC236}">
                <a16:creationId xmlns:a16="http://schemas.microsoft.com/office/drawing/2014/main" id="{0DD889F8-1CC5-41C1-BAF5-5D6BD0F6F5B0}"/>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DA22AC9-06BD-4427-B62E-52F6A58CB135}"/>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245190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730E577-8B32-4569-AC3C-76D6F2F6BDD5}"/>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F410C648-E034-410B-B01B-87701C8351F5}"/>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5F7769-50EF-4D0F-97C4-6A5E9227B19E}"/>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5" name="Zástupný symbol pro zápatí 4">
            <a:extLst>
              <a:ext uri="{FF2B5EF4-FFF2-40B4-BE49-F238E27FC236}">
                <a16:creationId xmlns:a16="http://schemas.microsoft.com/office/drawing/2014/main" id="{1B6DB6D5-8367-4F80-AF41-87D069C80375}"/>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ADF10414-C935-472D-B8FC-16EBD0EE0168}"/>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789238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8BCBB21-C0F1-4B2B-8A1C-15DD2EBAB71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A7818461-3C43-44FE-80B9-D048BFA8E55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D107805A-C211-4BDC-8A7C-50C017CDC074}"/>
              </a:ext>
            </a:extLst>
          </p:cNvPr>
          <p:cNvSpPr>
            <a:spLocks noGrp="1"/>
          </p:cNvSpPr>
          <p:nvPr>
            <p:ph type="dt" sz="half" idx="10"/>
          </p:nvPr>
        </p:nvSpPr>
        <p:spPr/>
        <p:txBody>
          <a:bodyPr/>
          <a:lstStyle/>
          <a:p>
            <a:fld id="{AA058D0A-07E9-4A68-88A0-7C25FDBBE4AC}" type="datetimeFigureOut">
              <a:rPr lang="cs-CZ" smtClean="0"/>
              <a:t>30.12.2021</a:t>
            </a:fld>
            <a:endParaRPr lang="cs-CZ"/>
          </a:p>
        </p:txBody>
      </p:sp>
      <p:sp>
        <p:nvSpPr>
          <p:cNvPr id="5" name="Zástupný symbol pro zápatí 4">
            <a:extLst>
              <a:ext uri="{FF2B5EF4-FFF2-40B4-BE49-F238E27FC236}">
                <a16:creationId xmlns:a16="http://schemas.microsoft.com/office/drawing/2014/main" id="{5CF91BA1-1C1F-4294-9B84-82D31143C10D}"/>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AB89D46F-E6FD-4433-AE57-F03CFCFF8815}"/>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283910557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4.sv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3.png"/><Relationship Id="rId2" Type="http://schemas.openxmlformats.org/officeDocument/2006/relationships/slideLayout" Target="../slideLayouts/slideLayout25.xml"/><Relationship Id="rId16" Type="http://schemas.openxmlformats.org/officeDocument/2006/relationships/image" Target="../media/image7.sv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image" Target="../media/image6.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4.sv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11.png"/><Relationship Id="rId2" Type="http://schemas.openxmlformats.org/officeDocument/2006/relationships/slideLayout" Target="../slideLayouts/slideLayout35.xml"/><Relationship Id="rId16" Type="http://schemas.openxmlformats.org/officeDocument/2006/relationships/image" Target="../media/image7.sv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5" Type="http://schemas.openxmlformats.org/officeDocument/2006/relationships/slideLayout" Target="../slideLayouts/slideLayout38.xml"/><Relationship Id="rId15" Type="http://schemas.openxmlformats.org/officeDocument/2006/relationships/image" Target="../media/image12.pn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theme" Target="../theme/theme6.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8CCCD239-AA6C-468B-B245-CD5B8A25AB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BC3069-8C51-47E8-9C44-38C8AF77A8AC}" type="datetimeFigureOut">
              <a:rPr lang="cs-CZ" smtClean="0"/>
              <a:t>30.12.2021</a:t>
            </a:fld>
            <a:endParaRPr lang="cs-CZ"/>
          </a:p>
        </p:txBody>
      </p:sp>
      <p:sp>
        <p:nvSpPr>
          <p:cNvPr id="5" name="Zástupný symbol pro zápatí 4">
            <a:extLst>
              <a:ext uri="{FF2B5EF4-FFF2-40B4-BE49-F238E27FC236}">
                <a16:creationId xmlns:a16="http://schemas.microsoft.com/office/drawing/2014/main" id="{6DE7136D-3C88-4971-84B6-5D5DE228D7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DAB90520-7E94-4EFB-924D-7EC9C954CA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1DAE22-6391-4995-B91F-1C3568FD3113}" type="slidenum">
              <a:rPr lang="cs-CZ" smtClean="0"/>
              <a:t>‹#›</a:t>
            </a:fld>
            <a:endParaRPr lang="cs-CZ"/>
          </a:p>
        </p:txBody>
      </p:sp>
    </p:spTree>
    <p:extLst>
      <p:ext uri="{BB962C8B-B14F-4D97-AF65-F5344CB8AC3E}">
        <p14:creationId xmlns:p14="http://schemas.microsoft.com/office/powerpoint/2010/main" val="12485124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947" r:id="rId5"/>
    <p:sldLayoutId id="2147483988"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58AF7D2-4ED1-4129-9DE6-4BC40E78B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84C08E0B-8703-4F4B-A221-FA41C8EDAF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93CDA1AE-D051-4265-B739-BBADD05EDA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058D0A-07E9-4A68-88A0-7C25FDBBE4AC}" type="datetimeFigureOut">
              <a:rPr lang="cs-CZ" smtClean="0"/>
              <a:t>30.12.2021</a:t>
            </a:fld>
            <a:endParaRPr lang="cs-CZ"/>
          </a:p>
        </p:txBody>
      </p:sp>
      <p:sp>
        <p:nvSpPr>
          <p:cNvPr id="5" name="Zástupný symbol pro zápatí 4">
            <a:extLst>
              <a:ext uri="{FF2B5EF4-FFF2-40B4-BE49-F238E27FC236}">
                <a16:creationId xmlns:a16="http://schemas.microsoft.com/office/drawing/2014/main" id="{BAA14082-EF73-46FC-8343-A2A3582777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72998947-0E69-43B5-8B05-739CE4C1B8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DE0407-92DD-4F09-B2AC-2A5171679737}" type="slidenum">
              <a:rPr lang="cs-CZ" smtClean="0"/>
              <a:t>‹#›</a:t>
            </a:fld>
            <a:endParaRPr lang="cs-CZ"/>
          </a:p>
        </p:txBody>
      </p:sp>
    </p:spTree>
    <p:extLst>
      <p:ext uri="{BB962C8B-B14F-4D97-AF65-F5344CB8AC3E}">
        <p14:creationId xmlns:p14="http://schemas.microsoft.com/office/powerpoint/2010/main" val="159182539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8CCCD239-AA6C-468B-B245-CD5B8A25AB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BC3069-8C51-47E8-9C44-38C8AF77A8AC}" type="datetimeFigureOut">
              <a:rPr lang="cs-CZ" smtClean="0"/>
              <a:t>30.12.2021</a:t>
            </a:fld>
            <a:endParaRPr lang="cs-CZ"/>
          </a:p>
        </p:txBody>
      </p:sp>
      <p:sp>
        <p:nvSpPr>
          <p:cNvPr id="5" name="Zástupný symbol pro zápatí 4">
            <a:extLst>
              <a:ext uri="{FF2B5EF4-FFF2-40B4-BE49-F238E27FC236}">
                <a16:creationId xmlns:a16="http://schemas.microsoft.com/office/drawing/2014/main" id="{6DE7136D-3C88-4971-84B6-5D5DE228D7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DAB90520-7E94-4EFB-924D-7EC9C954CA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1DAE22-6391-4995-B91F-1C3568FD3113}" type="slidenum">
              <a:rPr lang="cs-CZ" smtClean="0"/>
              <a:t>‹#›</a:t>
            </a:fld>
            <a:endParaRPr lang="cs-CZ"/>
          </a:p>
        </p:txBody>
      </p:sp>
    </p:spTree>
    <p:extLst>
      <p:ext uri="{BB962C8B-B14F-4D97-AF65-F5344CB8AC3E}">
        <p14:creationId xmlns:p14="http://schemas.microsoft.com/office/powerpoint/2010/main" val="100815004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BE882FD9-D878-4FCD-9C72-C60BD3C7D753}"/>
              </a:ext>
            </a:extLst>
          </p:cNvPr>
          <p:cNvSpPr/>
          <p:nvPr userDrawn="1"/>
        </p:nvSpPr>
        <p:spPr>
          <a:xfrm>
            <a:off x="1" y="1"/>
            <a:ext cx="12192000" cy="681036"/>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dirty="0">
              <a:solidFill>
                <a:schemeClr val="bg1"/>
              </a:solidFill>
              <a:latin typeface="Arial (Základní text)"/>
            </a:endParaRP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55986" y="1"/>
            <a:ext cx="8808993" cy="681036"/>
          </a:xfrm>
          <a:prstGeom prst="rect">
            <a:avLst/>
          </a:prstGeom>
        </p:spPr>
        <p:txBody>
          <a:bodyPr vert="horz" lIns="91440" tIns="45720" rIns="91440" bIns="45720" rtlCol="0" anchor="ctr">
            <a:normAutofit/>
          </a:bodyPr>
          <a:lstStyle/>
          <a:p>
            <a:r>
              <a:rPr lang="cs-CZ" dirty="0"/>
              <a:t>Kliknutím lze upravit styl.</a:t>
            </a:r>
          </a:p>
        </p:txBody>
      </p:sp>
      <p:grpSp>
        <p:nvGrpSpPr>
          <p:cNvPr id="11" name="Skupina 10">
            <a:extLst>
              <a:ext uri="{FF2B5EF4-FFF2-40B4-BE49-F238E27FC236}">
                <a16:creationId xmlns:a16="http://schemas.microsoft.com/office/drawing/2014/main" id="{677A8944-7C67-401C-A076-2F9A4BFDBF1A}"/>
              </a:ext>
            </a:extLst>
          </p:cNvPr>
          <p:cNvGrpSpPr/>
          <p:nvPr userDrawn="1"/>
        </p:nvGrpSpPr>
        <p:grpSpPr>
          <a:xfrm>
            <a:off x="9532058" y="94004"/>
            <a:ext cx="2587791" cy="308285"/>
            <a:chOff x="8214317" y="331276"/>
            <a:chExt cx="3881688" cy="450808"/>
          </a:xfrm>
        </p:grpSpPr>
        <p:pic>
          <p:nvPicPr>
            <p:cNvPr id="12" name="Grafický objekt 11">
              <a:extLst>
                <a:ext uri="{FF2B5EF4-FFF2-40B4-BE49-F238E27FC236}">
                  <a16:creationId xmlns:a16="http://schemas.microsoft.com/office/drawing/2014/main" id="{85265334-1A97-4E03-A335-0EFFE9BA9151}"/>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14317" y="471177"/>
              <a:ext cx="2963998" cy="252000"/>
            </a:xfrm>
            <a:prstGeom prst="rect">
              <a:avLst/>
            </a:prstGeom>
          </p:spPr>
        </p:pic>
        <p:pic>
          <p:nvPicPr>
            <p:cNvPr id="13" name="Obrázek 12" descr="Obsah obrázku kreslení&#10;&#10;Popis byl vytvořen automaticky">
              <a:extLst>
                <a:ext uri="{FF2B5EF4-FFF2-40B4-BE49-F238E27FC236}">
                  <a16:creationId xmlns:a16="http://schemas.microsoft.com/office/drawing/2014/main" id="{F366B753-F05F-414A-91C1-96175A86F108}"/>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14" name="Grafický objekt 13">
            <a:extLst>
              <a:ext uri="{FF2B5EF4-FFF2-40B4-BE49-F238E27FC236}">
                <a16:creationId xmlns:a16="http://schemas.microsoft.com/office/drawing/2014/main" id="{1E3E26BE-213E-4D1E-96AC-DD921E82501F}"/>
              </a:ext>
            </a:extLst>
          </p:cNvPr>
          <p:cNvPicPr>
            <a:picLocks noChangeAspect="1"/>
          </p:cNvPicPr>
          <p:nvPr userDrawn="1"/>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3515551409"/>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Lst>
  <p:hf hdr="0" dt="0"/>
  <p:txStyles>
    <p:titleStyle>
      <a:lvl1pPr algn="l" defTabSz="914400" rtl="0" eaLnBrk="1" latinLnBrk="0" hangingPunct="1">
        <a:lnSpc>
          <a:spcPct val="90000"/>
        </a:lnSpc>
        <a:spcBef>
          <a:spcPct val="0"/>
        </a:spcBef>
        <a:buNone/>
        <a:defRPr sz="3200" b="1" kern="1200">
          <a:solidFill>
            <a:schemeClr val="bg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BE882FD9-D878-4FCD-9C72-C60BD3C7D753}"/>
              </a:ext>
            </a:extLst>
          </p:cNvPr>
          <p:cNvSpPr/>
          <p:nvPr userDrawn="1"/>
        </p:nvSpPr>
        <p:spPr>
          <a:xfrm>
            <a:off x="1" y="1"/>
            <a:ext cx="12192000" cy="681036"/>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dirty="0">
              <a:solidFill>
                <a:schemeClr val="bg1"/>
              </a:solidFill>
              <a:latin typeface="Arial (Základní text)"/>
            </a:endParaRP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55986" y="1"/>
            <a:ext cx="8808993" cy="681036"/>
          </a:xfrm>
          <a:prstGeom prst="rect">
            <a:avLst/>
          </a:prstGeom>
        </p:spPr>
        <p:txBody>
          <a:bodyPr vert="horz" lIns="91440" tIns="45720" rIns="91440" bIns="45720" rtlCol="0" anchor="ctr">
            <a:normAutofit/>
          </a:bodyPr>
          <a:lstStyle/>
          <a:p>
            <a:r>
              <a:rPr lang="cs-CZ" dirty="0"/>
              <a:t>Kliknutím lze upravit styl.</a:t>
            </a:r>
          </a:p>
        </p:txBody>
      </p:sp>
      <p:grpSp>
        <p:nvGrpSpPr>
          <p:cNvPr id="11" name="Skupina 10">
            <a:extLst>
              <a:ext uri="{FF2B5EF4-FFF2-40B4-BE49-F238E27FC236}">
                <a16:creationId xmlns:a16="http://schemas.microsoft.com/office/drawing/2014/main" id="{677A8944-7C67-401C-A076-2F9A4BFDBF1A}"/>
              </a:ext>
            </a:extLst>
          </p:cNvPr>
          <p:cNvGrpSpPr/>
          <p:nvPr userDrawn="1"/>
        </p:nvGrpSpPr>
        <p:grpSpPr>
          <a:xfrm>
            <a:off x="9532058" y="94004"/>
            <a:ext cx="2587791" cy="308285"/>
            <a:chOff x="8214317" y="331276"/>
            <a:chExt cx="3881688" cy="450808"/>
          </a:xfrm>
        </p:grpSpPr>
        <p:pic>
          <p:nvPicPr>
            <p:cNvPr id="12" name="Grafický objekt 11">
              <a:extLst>
                <a:ext uri="{FF2B5EF4-FFF2-40B4-BE49-F238E27FC236}">
                  <a16:creationId xmlns:a16="http://schemas.microsoft.com/office/drawing/2014/main" id="{85265334-1A97-4E03-A335-0EFFE9BA9151}"/>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14317" y="471177"/>
              <a:ext cx="2963998" cy="252000"/>
            </a:xfrm>
            <a:prstGeom prst="rect">
              <a:avLst/>
            </a:prstGeom>
          </p:spPr>
        </p:pic>
        <p:pic>
          <p:nvPicPr>
            <p:cNvPr id="13" name="Obrázek 12" descr="Obsah obrázku kreslení&#10;&#10;Popis byl vytvořen automaticky">
              <a:extLst>
                <a:ext uri="{FF2B5EF4-FFF2-40B4-BE49-F238E27FC236}">
                  <a16:creationId xmlns:a16="http://schemas.microsoft.com/office/drawing/2014/main" id="{F366B753-F05F-414A-91C1-96175A86F108}"/>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14" name="Grafický objekt 13">
            <a:extLst>
              <a:ext uri="{FF2B5EF4-FFF2-40B4-BE49-F238E27FC236}">
                <a16:creationId xmlns:a16="http://schemas.microsoft.com/office/drawing/2014/main" id="{1E3E26BE-213E-4D1E-96AC-DD921E82501F}"/>
              </a:ext>
            </a:extLst>
          </p:cNvPr>
          <p:cNvPicPr>
            <a:picLocks noChangeAspect="1"/>
          </p:cNvPicPr>
          <p:nvPr userDrawn="1"/>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3243085209"/>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Lst>
  <p:hf hdr="0" dt="0"/>
  <p:txStyles>
    <p:titleStyle>
      <a:lvl1pPr algn="l" defTabSz="914400" rtl="0" eaLnBrk="1" latinLnBrk="0" hangingPunct="1">
        <a:lnSpc>
          <a:spcPct val="90000"/>
        </a:lnSpc>
        <a:spcBef>
          <a:spcPct val="0"/>
        </a:spcBef>
        <a:buNone/>
        <a:defRPr sz="3200" b="1" kern="1200">
          <a:solidFill>
            <a:schemeClr val="bg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115060340"/>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image" Target="../media/image29.png"/><Relationship Id="rId3" Type="http://schemas.openxmlformats.org/officeDocument/2006/relationships/tags" Target="../tags/tag30.xml"/><Relationship Id="rId21" Type="http://schemas.openxmlformats.org/officeDocument/2006/relationships/tags" Target="../tags/tag48.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slideLayout" Target="../slideLayouts/slideLayout6.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29" Type="http://schemas.openxmlformats.org/officeDocument/2006/relationships/image" Target="../media/image32.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image" Target="../media/image31.png"/><Relationship Id="rId10" Type="http://schemas.openxmlformats.org/officeDocument/2006/relationships/tags" Target="../tags/tag37.xml"/><Relationship Id="rId19" Type="http://schemas.openxmlformats.org/officeDocument/2006/relationships/tags" Target="../tags/tag46.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image" Target="../media/image30.png"/></Relationships>
</file>

<file path=ppt/slides/_rels/slide11.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chart" Target="../charts/chart6.xml"/><Relationship Id="rId3" Type="http://schemas.openxmlformats.org/officeDocument/2006/relationships/tags" Target="../tags/tag54.xml"/><Relationship Id="rId21" Type="http://schemas.openxmlformats.org/officeDocument/2006/relationships/tags" Target="../tags/tag72.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chart" Target="../charts/chart5.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chart" Target="../charts/chart9.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notesSlide" Target="../notesSlides/notesSlide5.xml"/><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slideLayout" Target="../slideLayouts/slideLayout28.xml"/><Relationship Id="rId28" Type="http://schemas.openxmlformats.org/officeDocument/2006/relationships/chart" Target="../charts/chart8.xml"/><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chart" Target="../charts/chart7.xml"/><Relationship Id="rId30" Type="http://schemas.openxmlformats.org/officeDocument/2006/relationships/chart" Target="../charts/chart10.xml"/></Relationships>
</file>

<file path=ppt/slides/_rels/slide12.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chart" Target="../charts/chart12.xml"/><Relationship Id="rId3" Type="http://schemas.openxmlformats.org/officeDocument/2006/relationships/tags" Target="../tags/tag76.xml"/><Relationship Id="rId21" Type="http://schemas.openxmlformats.org/officeDocument/2006/relationships/tags" Target="../tags/tag94.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chart" Target="../charts/chart11.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chart" Target="../charts/chart1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notesSlide" Target="../notesSlides/notesSlide6.xm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slideLayout" Target="../slideLayouts/slideLayout28.xml"/><Relationship Id="rId28" Type="http://schemas.openxmlformats.org/officeDocument/2006/relationships/chart" Target="../charts/chart14.xml"/><Relationship Id="rId10" Type="http://schemas.openxmlformats.org/officeDocument/2006/relationships/tags" Target="../tags/tag83.xml"/><Relationship Id="rId19" Type="http://schemas.openxmlformats.org/officeDocument/2006/relationships/tags" Target="../tags/tag92.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chart" Target="../charts/chart13.xml"/><Relationship Id="rId30" Type="http://schemas.openxmlformats.org/officeDocument/2006/relationships/chart" Target="../charts/chart16.xml"/></Relationships>
</file>

<file path=ppt/slides/_rels/slide13.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chart" Target="../charts/chart17.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slideLayout" Target="../slideLayouts/slideLayout23.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08.xml"/><Relationship Id="rId1" Type="http://schemas.openxmlformats.org/officeDocument/2006/relationships/tags" Target="../tags/tag107.xml"/></Relationships>
</file>

<file path=ppt/slides/_rels/slide15.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tags" Target="../tags/tag111.xml"/><Relationship Id="rId7" Type="http://schemas.openxmlformats.org/officeDocument/2006/relationships/notesSlide" Target="../notesSlides/notesSlide7.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slideLayout" Target="../slideLayouts/slideLayout21.xml"/><Relationship Id="rId5" Type="http://schemas.openxmlformats.org/officeDocument/2006/relationships/tags" Target="../tags/tag113.xml"/><Relationship Id="rId4" Type="http://schemas.openxmlformats.org/officeDocument/2006/relationships/tags" Target="../tags/tag112.xml"/></Relationships>
</file>

<file path=ppt/slides/_rels/slide1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4"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notesSlide" Target="../notesSlides/notesSlide8.xml"/><Relationship Id="rId5" Type="http://schemas.openxmlformats.org/officeDocument/2006/relationships/slideLayout" Target="../slideLayouts/slideLayout21.xml"/><Relationship Id="rId4" Type="http://schemas.openxmlformats.org/officeDocument/2006/relationships/tags" Target="../tags/tag120.xml"/></Relationships>
</file>

<file path=ppt/slides/_rels/slide18.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chart" Target="../charts/chart19.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slideLayout" Target="../slideLayouts/slideLayout6.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s>
</file>

<file path=ppt/slides/_rels/slide19.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slideLayout" Target="../slideLayouts/slideLayout6.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tags" Target="../tags/tag143.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0" Type="http://schemas.openxmlformats.org/officeDocument/2006/relationships/tags" Target="../tags/tag14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chart" Target="../charts/chart2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5.xml"/><Relationship Id="rId1" Type="http://schemas.openxmlformats.org/officeDocument/2006/relationships/tags" Target="../tags/tag144.xml"/></Relationships>
</file>

<file path=ppt/slides/_rels/slide21.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slideLayout" Target="../slideLayouts/slideLayout5.xml"/><Relationship Id="rId5" Type="http://schemas.openxmlformats.org/officeDocument/2006/relationships/tags" Target="../tags/tag150.xml"/><Relationship Id="rId4" Type="http://schemas.openxmlformats.org/officeDocument/2006/relationships/tags" Target="../tags/tag149.xml"/></Relationships>
</file>

<file path=ppt/slides/_rels/slide22.xml.rels><?xml version="1.0" encoding="UTF-8" standalone="yes"?>
<Relationships xmlns="http://schemas.openxmlformats.org/package/2006/relationships"><Relationship Id="rId8" Type="http://schemas.openxmlformats.org/officeDocument/2006/relationships/tags" Target="../tags/tag158.xml"/><Relationship Id="rId3" Type="http://schemas.openxmlformats.org/officeDocument/2006/relationships/tags" Target="../tags/tag153.xml"/><Relationship Id="rId7" Type="http://schemas.openxmlformats.org/officeDocument/2006/relationships/tags" Target="../tags/tag157.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5" Type="http://schemas.openxmlformats.org/officeDocument/2006/relationships/tags" Target="../tags/tag155.xml"/><Relationship Id="rId4" Type="http://schemas.openxmlformats.org/officeDocument/2006/relationships/tags" Target="../tags/tag154.xml"/><Relationship Id="rId9"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0.xml"/><Relationship Id="rId1" Type="http://schemas.openxmlformats.org/officeDocument/2006/relationships/tags" Target="../tags/tag159.xml"/><Relationship Id="rId4" Type="http://schemas.openxmlformats.org/officeDocument/2006/relationships/hyperlink" Target="https://www.imperial.ac.uk/mrc-global-infectious-disease-analysis/covid-19/report-50-severity-omicron/" TargetMode="Externa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2.xml"/><Relationship Id="rId1" Type="http://schemas.openxmlformats.org/officeDocument/2006/relationships/tags" Target="../tags/tag161.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4.xml"/><Relationship Id="rId1" Type="http://schemas.openxmlformats.org/officeDocument/2006/relationships/tags" Target="../tags/tag163.xml"/><Relationship Id="rId4" Type="http://schemas.openxmlformats.org/officeDocument/2006/relationships/hyperlink" Target="https://www.who.int/news-room/events/detail/2021/12/15/default-calendar/who-global-consultation---what-evidence-do-we-have-that-omicron-is-evading-immunity-and-what-are-the-implications" TargetMode="Externa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6.xml"/><Relationship Id="rId1" Type="http://schemas.openxmlformats.org/officeDocument/2006/relationships/tags" Target="../tags/tag165.xml"/><Relationship Id="rId4" Type="http://schemas.openxmlformats.org/officeDocument/2006/relationships/image" Target="../media/image34.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168.xml"/><Relationship Id="rId1" Type="http://schemas.openxmlformats.org/officeDocument/2006/relationships/tags" Target="../tags/tag167.xml"/><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170.xml"/><Relationship Id="rId1" Type="http://schemas.openxmlformats.org/officeDocument/2006/relationships/tags" Target="../tags/tag169.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172.xml"/><Relationship Id="rId1" Type="http://schemas.openxmlformats.org/officeDocument/2006/relationships/tags" Target="../tags/tag171.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174.xml"/><Relationship Id="rId1" Type="http://schemas.openxmlformats.org/officeDocument/2006/relationships/tags" Target="../tags/tag173.xml"/><Relationship Id="rId4" Type="http://schemas.openxmlformats.org/officeDocument/2006/relationships/image" Target="../media/image37.emf"/></Relationships>
</file>

<file path=ppt/slides/_rels/slide31.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4"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notesSlide" Target="../notesSlides/notesSlide11.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slideLayout" Target="../slideLayouts/slideLayout5.xml"/><Relationship Id="rId5" Type="http://schemas.openxmlformats.org/officeDocument/2006/relationships/tags" Target="../tags/tag182.xml"/><Relationship Id="rId4" Type="http://schemas.openxmlformats.org/officeDocument/2006/relationships/tags" Target="../tags/tag181.xml"/></Relationships>
</file>

<file path=ppt/slides/_rels/slide35.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Layout" Target="../slideLayouts/slideLayout22.xml"/><Relationship Id="rId5" Type="http://schemas.openxmlformats.org/officeDocument/2006/relationships/tags" Target="../tags/tag187.xml"/><Relationship Id="rId4" Type="http://schemas.openxmlformats.org/officeDocument/2006/relationships/tags" Target="../tags/tag186.xml"/></Relationships>
</file>

<file path=ppt/slides/_rels/slide36.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48.xml"/></Relationships>
</file>

<file path=ppt/slides/_rels/slide37.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slideLayout" Target="../slideLayouts/slideLayout22.xml"/><Relationship Id="rId1" Type="http://schemas.openxmlformats.org/officeDocument/2006/relationships/tags" Target="../tags/tag18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9.xml"/><Relationship Id="rId5" Type="http://schemas.openxmlformats.org/officeDocument/2006/relationships/image" Target="../media/image28.emf"/><Relationship Id="rId4" Type="http://schemas.openxmlformats.org/officeDocument/2006/relationships/image" Target="../media/image27.emf"/></Relationships>
</file>

<file path=ppt/slides/_rels/slide4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slideLayout" Target="../slideLayouts/slideLayout22.xml"/><Relationship Id="rId1" Type="http://schemas.openxmlformats.org/officeDocument/2006/relationships/tags" Target="../tags/tag189.xml"/></Relationships>
</file>

<file path=ppt/slides/_rels/slide41.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slideLayout" Target="../slideLayouts/slideLayout22.xml"/><Relationship Id="rId1" Type="http://schemas.openxmlformats.org/officeDocument/2006/relationships/tags" Target="../tags/tag19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2.xml"/><Relationship Id="rId1" Type="http://schemas.openxmlformats.org/officeDocument/2006/relationships/tags" Target="../tags/tag191.xml"/></Relationships>
</file>

<file path=ppt/slides/_rels/slide4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Layout" Target="../slideLayouts/slideLayout5.xml"/><Relationship Id="rId1" Type="http://schemas.openxmlformats.org/officeDocument/2006/relationships/tags" Target="../tags/tag193.xml"/></Relationships>
</file>

<file path=ppt/slides/_rels/slide4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slideLayout" Target="../slideLayouts/slideLayout5.xml"/><Relationship Id="rId1" Type="http://schemas.openxmlformats.org/officeDocument/2006/relationships/tags" Target="../tags/tag19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95.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chart" Target="../charts/char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notesSlide" Target="../notesSlides/notesSlide3.xml"/><Relationship Id="rId5" Type="http://schemas.openxmlformats.org/officeDocument/2006/relationships/slideLayout" Target="../slideLayouts/slideLayout28.xml"/><Relationship Id="rId4" Type="http://schemas.openxmlformats.org/officeDocument/2006/relationships/tags" Target="../tags/tag13.xml"/></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6.xml"/><Relationship Id="rId7" Type="http://schemas.openxmlformats.org/officeDocument/2006/relationships/notesSlide" Target="../notesSlides/notesSlide4.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28.xml"/><Relationship Id="rId5" Type="http://schemas.openxmlformats.org/officeDocument/2006/relationships/tags" Target="../tags/tag18.xml"/><Relationship Id="rId4" Type="http://schemas.openxmlformats.org/officeDocument/2006/relationships/tags" Target="../tags/tag1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0.xml"/><Relationship Id="rId1" Type="http://schemas.openxmlformats.org/officeDocument/2006/relationships/tags" Target="../tags/tag19.xml"/></Relationships>
</file>

<file path=ppt/slides/_rels/slide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chart" Target="../charts/chart3.xml"/><Relationship Id="rId5" Type="http://schemas.openxmlformats.org/officeDocument/2006/relationships/slideLayout" Target="../slideLayouts/slideLayout6.xml"/><Relationship Id="rId4" Type="http://schemas.openxmlformats.org/officeDocument/2006/relationships/tags" Target="../tags/tag24.xml"/></Relationships>
</file>

<file path=ppt/slides/_rels/slide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chart" Target="../charts/chart4.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2"/>
            </p:custDataLst>
          </p:nvPr>
        </p:nvSpPr>
        <p:spPr>
          <a:xfrm>
            <a:off x="0" y="3693109"/>
            <a:ext cx="12192000" cy="2317166"/>
          </a:xfrm>
        </p:spPr>
        <p:txBody>
          <a:bodyPr>
            <a:normAutofit/>
          </a:bodyPr>
          <a:lstStyle/>
          <a:p>
            <a:r>
              <a:rPr lang="cs-CZ" sz="4800" b="1" dirty="0"/>
              <a:t>Souhrn – situace v ČR  </a:t>
            </a:r>
          </a:p>
          <a:p>
            <a:r>
              <a:rPr lang="cs-CZ" sz="4800" b="1" dirty="0"/>
              <a:t>Hlavní ukazatele vývoje virové zátěže populace </a:t>
            </a:r>
            <a:endParaRPr lang="cs-CZ" sz="4600" i="1" dirty="0"/>
          </a:p>
        </p:txBody>
      </p:sp>
    </p:spTree>
    <p:extLst>
      <p:ext uri="{BB962C8B-B14F-4D97-AF65-F5344CB8AC3E}">
        <p14:creationId xmlns:p14="http://schemas.microsoft.com/office/powerpoint/2010/main" val="3624231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custDataLst>
              <p:tags r:id="rId1"/>
            </p:custDataLst>
          </p:nvPr>
        </p:nvSpPr>
        <p:spPr>
          <a:xfrm>
            <a:off x="209211" y="0"/>
            <a:ext cx="10125069" cy="576000"/>
          </a:xfrm>
        </p:spPr>
        <p:txBody>
          <a:bodyPr/>
          <a:lstStyle/>
          <a:p>
            <a:r>
              <a:rPr lang="cs-CZ" dirty="0"/>
              <a:t>7 denní počet nových případů (na 100 000 obyv.)</a:t>
            </a:r>
            <a:r>
              <a:rPr lang="en-US" dirty="0"/>
              <a:t> v </a:t>
            </a:r>
            <a:r>
              <a:rPr lang="cs-CZ" dirty="0"/>
              <a:t>ORP</a:t>
            </a:r>
            <a:endParaRPr lang="cs-CZ" dirty="0">
              <a:latin typeface="+mj-lt"/>
            </a:endParaRPr>
          </a:p>
        </p:txBody>
      </p:sp>
      <p:sp>
        <p:nvSpPr>
          <p:cNvPr id="5" name="Rectangle 4">
            <a:extLst>
              <a:ext uri="{FF2B5EF4-FFF2-40B4-BE49-F238E27FC236}">
                <a16:creationId xmlns:a16="http://schemas.microsoft.com/office/drawing/2014/main" id="{0BE080D6-FC53-427A-9C73-FAC7AD1D2FCD}"/>
              </a:ext>
            </a:extLst>
          </p:cNvPr>
          <p:cNvSpPr/>
          <p:nvPr>
            <p:custDataLst>
              <p:tags r:id="rId2"/>
            </p:custDataLst>
          </p:nvPr>
        </p:nvSpPr>
        <p:spPr>
          <a:xfrm>
            <a:off x="9750587" y="2038465"/>
            <a:ext cx="180000" cy="180000"/>
          </a:xfrm>
          <a:prstGeom prst="rect">
            <a:avLst/>
          </a:prstGeom>
          <a:solidFill>
            <a:srgbClr val="2B83B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9E4925A4-86A9-42E1-B474-EC1CB00F06FB}"/>
              </a:ext>
            </a:extLst>
          </p:cNvPr>
          <p:cNvSpPr/>
          <p:nvPr/>
        </p:nvSpPr>
        <p:spPr>
          <a:xfrm>
            <a:off x="9750587" y="2347191"/>
            <a:ext cx="180000" cy="180000"/>
          </a:xfrm>
          <a:prstGeom prst="rect">
            <a:avLst/>
          </a:prstGeom>
          <a:solidFill>
            <a:srgbClr val="80BFA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31920F6-822D-4D8E-9016-3491B8DD67F4}"/>
              </a:ext>
            </a:extLst>
          </p:cNvPr>
          <p:cNvSpPr/>
          <p:nvPr/>
        </p:nvSpPr>
        <p:spPr>
          <a:xfrm>
            <a:off x="9750587" y="2655917"/>
            <a:ext cx="180000" cy="180000"/>
          </a:xfrm>
          <a:prstGeom prst="rect">
            <a:avLst/>
          </a:prstGeom>
          <a:solidFill>
            <a:srgbClr val="C7E8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3996B81-667A-401C-967B-28C2A48E23CC}"/>
              </a:ext>
            </a:extLst>
          </p:cNvPr>
          <p:cNvSpPr/>
          <p:nvPr/>
        </p:nvSpPr>
        <p:spPr>
          <a:xfrm>
            <a:off x="9750587" y="2964643"/>
            <a:ext cx="180000" cy="180000"/>
          </a:xfrm>
          <a:prstGeom prst="rect">
            <a:avLst/>
          </a:prstGeom>
          <a:solidFill>
            <a:srgbClr val="E2E22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CF2DB380-5F7C-460F-BFDA-86D337A8CFE1}"/>
              </a:ext>
            </a:extLst>
          </p:cNvPr>
          <p:cNvSpPr/>
          <p:nvPr/>
        </p:nvSpPr>
        <p:spPr>
          <a:xfrm>
            <a:off x="9750587" y="3273369"/>
            <a:ext cx="180000" cy="180000"/>
          </a:xfrm>
          <a:prstGeom prst="rect">
            <a:avLst/>
          </a:prstGeom>
          <a:solidFill>
            <a:srgbClr val="FEAB4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708FD43E-EE03-4737-A366-C1F7D775579E}"/>
              </a:ext>
            </a:extLst>
          </p:cNvPr>
          <p:cNvSpPr txBox="1"/>
          <p:nvPr>
            <p:custDataLst>
              <p:tags r:id="rId3"/>
            </p:custDataLst>
          </p:nvPr>
        </p:nvSpPr>
        <p:spPr>
          <a:xfrm>
            <a:off x="9990343" y="1943799"/>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250</a:t>
            </a:r>
          </a:p>
        </p:txBody>
      </p:sp>
      <p:sp>
        <p:nvSpPr>
          <p:cNvPr id="11" name="TextBox 10">
            <a:extLst>
              <a:ext uri="{FF2B5EF4-FFF2-40B4-BE49-F238E27FC236}">
                <a16:creationId xmlns:a16="http://schemas.microsoft.com/office/drawing/2014/main" id="{4B654345-6D6F-4D0F-813B-A10AFB3293A9}"/>
              </a:ext>
            </a:extLst>
          </p:cNvPr>
          <p:cNvSpPr txBox="1"/>
          <p:nvPr>
            <p:custDataLst>
              <p:tags r:id="rId4"/>
            </p:custDataLst>
          </p:nvPr>
        </p:nvSpPr>
        <p:spPr>
          <a:xfrm>
            <a:off x="9990343" y="2255089"/>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250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4</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ECECFEB-BD0B-4FAF-9B8B-C8A903E5C1DE}"/>
              </a:ext>
            </a:extLst>
          </p:cNvPr>
          <p:cNvSpPr txBox="1"/>
          <p:nvPr>
            <p:custDataLst>
              <p:tags r:id="rId5"/>
            </p:custDataLst>
          </p:nvPr>
        </p:nvSpPr>
        <p:spPr>
          <a:xfrm>
            <a:off x="9990343" y="2566379"/>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4</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6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E14133F7-D8D6-4D0C-B56B-CAC8C40EE252}"/>
              </a:ext>
            </a:extLst>
          </p:cNvPr>
          <p:cNvSpPr txBox="1"/>
          <p:nvPr>
            <p:custDataLst>
              <p:tags r:id="rId6"/>
            </p:custDataLst>
          </p:nvPr>
        </p:nvSpPr>
        <p:spPr>
          <a:xfrm>
            <a:off x="9990343" y="2877669"/>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6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8</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020DDF93-0D60-4DCB-A93B-533691C52B6E}"/>
              </a:ext>
            </a:extLst>
          </p:cNvPr>
          <p:cNvSpPr txBox="1"/>
          <p:nvPr>
            <p:custDataLst>
              <p:tags r:id="rId7"/>
            </p:custDataLst>
          </p:nvPr>
        </p:nvSpPr>
        <p:spPr>
          <a:xfrm>
            <a:off x="9990343" y="3188959"/>
            <a:ext cx="121058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8</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 1000</a:t>
            </a:r>
          </a:p>
        </p:txBody>
      </p:sp>
      <p:sp>
        <p:nvSpPr>
          <p:cNvPr id="16" name="Rectangle 15">
            <a:extLst>
              <a:ext uri="{FF2B5EF4-FFF2-40B4-BE49-F238E27FC236}">
                <a16:creationId xmlns:a16="http://schemas.microsoft.com/office/drawing/2014/main" id="{8B48D847-A97F-4AAA-A08B-55218BF2B7F5}"/>
              </a:ext>
            </a:extLst>
          </p:cNvPr>
          <p:cNvSpPr/>
          <p:nvPr/>
        </p:nvSpPr>
        <p:spPr>
          <a:xfrm>
            <a:off x="9750587" y="3582094"/>
            <a:ext cx="180000" cy="180000"/>
          </a:xfrm>
          <a:prstGeom prst="rect">
            <a:avLst/>
          </a:prstGeom>
          <a:solidFill>
            <a:srgbClr val="F12E1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70FDD93D-9CA2-41FC-953B-E1DA3769E12D}"/>
              </a:ext>
            </a:extLst>
          </p:cNvPr>
          <p:cNvSpPr/>
          <p:nvPr/>
        </p:nvSpPr>
        <p:spPr>
          <a:xfrm>
            <a:off x="9750587" y="3890818"/>
            <a:ext cx="180000" cy="180000"/>
          </a:xfrm>
          <a:prstGeom prst="rect">
            <a:avLst/>
          </a:prstGeom>
          <a:solidFill>
            <a:srgbClr val="AA131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7B07D8BB-886C-4DD8-BE83-D1D89236D7C4}"/>
              </a:ext>
            </a:extLst>
          </p:cNvPr>
          <p:cNvSpPr txBox="1"/>
          <p:nvPr>
            <p:custDataLst>
              <p:tags r:id="rId8"/>
            </p:custDataLst>
          </p:nvPr>
        </p:nvSpPr>
        <p:spPr>
          <a:xfrm>
            <a:off x="9990343" y="3500249"/>
            <a:ext cx="132440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000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200</a:t>
            </a:r>
          </a:p>
        </p:txBody>
      </p:sp>
      <p:sp>
        <p:nvSpPr>
          <p:cNvPr id="20" name="TextBox 19">
            <a:extLst>
              <a:ext uri="{FF2B5EF4-FFF2-40B4-BE49-F238E27FC236}">
                <a16:creationId xmlns:a16="http://schemas.microsoft.com/office/drawing/2014/main" id="{82588280-9570-4C47-854B-55E5855520E2}"/>
              </a:ext>
            </a:extLst>
          </p:cNvPr>
          <p:cNvSpPr txBox="1"/>
          <p:nvPr>
            <p:custDataLst>
              <p:tags r:id="rId9"/>
            </p:custDataLst>
          </p:nvPr>
        </p:nvSpPr>
        <p:spPr>
          <a:xfrm>
            <a:off x="9990343" y="3811541"/>
            <a:ext cx="81785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t;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200</a:t>
            </a:r>
          </a:p>
        </p:txBody>
      </p:sp>
      <p:sp>
        <p:nvSpPr>
          <p:cNvPr id="30" name="Rectangle 29">
            <a:extLst>
              <a:ext uri="{FF2B5EF4-FFF2-40B4-BE49-F238E27FC236}">
                <a16:creationId xmlns:a16="http://schemas.microsoft.com/office/drawing/2014/main" id="{E8D61F06-E564-4806-8691-3AC255200BE8}"/>
              </a:ext>
            </a:extLst>
          </p:cNvPr>
          <p:cNvSpPr/>
          <p:nvPr>
            <p:custDataLst>
              <p:tags r:id="rId10"/>
            </p:custDataLst>
          </p:nvPr>
        </p:nvSpPr>
        <p:spPr>
          <a:xfrm>
            <a:off x="9750587" y="1763799"/>
            <a:ext cx="180000" cy="180000"/>
          </a:xfrm>
          <a:prstGeom prst="rect">
            <a:avLst/>
          </a:prstGeom>
          <a:solidFill>
            <a:srgbClr val="4CB9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2186B9F7-F8F7-4F40-BFDF-925ACE69CA58}"/>
              </a:ext>
            </a:extLst>
          </p:cNvPr>
          <p:cNvSpPr txBox="1"/>
          <p:nvPr>
            <p:custDataLst>
              <p:tags r:id="rId11"/>
            </p:custDataLst>
          </p:nvPr>
        </p:nvSpPr>
        <p:spPr>
          <a:xfrm>
            <a:off x="9990343" y="1699911"/>
            <a:ext cx="93807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5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FD1B206D-13F2-46AF-A707-682B8D88A63C}"/>
              </a:ext>
            </a:extLst>
          </p:cNvPr>
          <p:cNvSpPr/>
          <p:nvPr>
            <p:custDataLst>
              <p:tags r:id="rId12"/>
            </p:custDataLst>
          </p:nvPr>
        </p:nvSpPr>
        <p:spPr>
          <a:xfrm>
            <a:off x="9750587" y="1473457"/>
            <a:ext cx="180000" cy="180000"/>
          </a:xfrm>
          <a:prstGeom prst="rect">
            <a:avLst/>
          </a:prstGeom>
          <a:solidFill>
            <a:srgbClr val="AEDF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6E19C18A-0242-40A3-8DFB-2F38AED8C204}"/>
              </a:ext>
            </a:extLst>
          </p:cNvPr>
          <p:cNvSpPr txBox="1"/>
          <p:nvPr>
            <p:custDataLst>
              <p:tags r:id="rId13"/>
            </p:custDataLst>
          </p:nvPr>
        </p:nvSpPr>
        <p:spPr>
          <a:xfrm>
            <a:off x="9990343" y="1409569"/>
            <a:ext cx="82426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25 - 50</a:t>
            </a:r>
          </a:p>
        </p:txBody>
      </p:sp>
      <p:sp>
        <p:nvSpPr>
          <p:cNvPr id="27" name="Rectangle 26">
            <a:extLst>
              <a:ext uri="{FF2B5EF4-FFF2-40B4-BE49-F238E27FC236}">
                <a16:creationId xmlns:a16="http://schemas.microsoft.com/office/drawing/2014/main" id="{E72C0F43-AA2D-4190-92A2-DA88FB03C4B4}"/>
              </a:ext>
            </a:extLst>
          </p:cNvPr>
          <p:cNvSpPr/>
          <p:nvPr>
            <p:custDataLst>
              <p:tags r:id="rId14"/>
            </p:custDataLst>
          </p:nvPr>
        </p:nvSpPr>
        <p:spPr>
          <a:xfrm>
            <a:off x="9750587" y="1187611"/>
            <a:ext cx="180000" cy="180000"/>
          </a:xfrm>
          <a:prstGeom prst="rect">
            <a:avLst/>
          </a:prstGeom>
          <a:solidFill>
            <a:srgbClr val="E5F4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F7F72A3E-D55C-4A77-863C-B5BD05190F52}"/>
              </a:ext>
            </a:extLst>
          </p:cNvPr>
          <p:cNvSpPr txBox="1"/>
          <p:nvPr>
            <p:custDataLst>
              <p:tags r:id="rId15"/>
            </p:custDataLst>
          </p:nvPr>
        </p:nvSpPr>
        <p:spPr>
          <a:xfrm>
            <a:off x="9990343" y="1123723"/>
            <a:ext cx="59022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lt;</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25</a:t>
            </a:r>
          </a:p>
        </p:txBody>
      </p:sp>
      <p:pic>
        <p:nvPicPr>
          <p:cNvPr id="38" name="Picture 2">
            <a:extLst>
              <a:ext uri="{FF2B5EF4-FFF2-40B4-BE49-F238E27FC236}">
                <a16:creationId xmlns:a16="http://schemas.microsoft.com/office/drawing/2014/main" id="{D7652249-E536-4EC7-8D07-70DA91951780}"/>
              </a:ext>
            </a:extLst>
          </p:cNvPr>
          <p:cNvPicPr>
            <a:picLocks noChangeAspect="1"/>
          </p:cNvPicPr>
          <p:nvPr>
            <p:custDataLst>
              <p:tags r:id="rId16"/>
            </p:custDataLst>
          </p:nvPr>
        </p:nvPicPr>
        <p:blipFill rotWithShape="1">
          <a:blip r:embed="rId26">
            <a:extLst>
              <a:ext uri="{28A0092B-C50C-407E-A947-70E740481C1C}">
                <a14:useLocalDpi xmlns:a14="http://schemas.microsoft.com/office/drawing/2010/main" val="0"/>
              </a:ext>
            </a:extLst>
          </a:blip>
          <a:srcRect l="308" r="308"/>
          <a:stretch/>
        </p:blipFill>
        <p:spPr>
          <a:xfrm>
            <a:off x="317600" y="1296831"/>
            <a:ext cx="3463570" cy="2160000"/>
          </a:xfrm>
          <a:prstGeom prst="rect">
            <a:avLst/>
          </a:prstGeom>
        </p:spPr>
      </p:pic>
      <p:pic>
        <p:nvPicPr>
          <p:cNvPr id="39" name="Obrázek 38">
            <a:extLst>
              <a:ext uri="{FF2B5EF4-FFF2-40B4-BE49-F238E27FC236}">
                <a16:creationId xmlns:a16="http://schemas.microsoft.com/office/drawing/2014/main" id="{F248BF76-04AF-45DC-94BD-480740CEC728}"/>
              </a:ext>
            </a:extLst>
          </p:cNvPr>
          <p:cNvPicPr>
            <a:picLocks noChangeAspect="1"/>
          </p:cNvPicPr>
          <p:nvPr>
            <p:custDataLst>
              <p:tags r:id="rId17"/>
            </p:custDataLst>
          </p:nvPr>
        </p:nvPicPr>
        <p:blipFill>
          <a:blip r:embed="rId27">
            <a:extLst>
              <a:ext uri="{28A0092B-C50C-407E-A947-70E740481C1C}">
                <a14:useLocalDpi xmlns:a14="http://schemas.microsoft.com/office/drawing/2010/main" val="0"/>
              </a:ext>
            </a:extLst>
          </a:blip>
          <a:srcRect/>
          <a:stretch/>
        </p:blipFill>
        <p:spPr>
          <a:xfrm>
            <a:off x="4246233" y="1347089"/>
            <a:ext cx="3508075" cy="2158348"/>
          </a:xfrm>
          <a:prstGeom prst="rect">
            <a:avLst/>
          </a:prstGeom>
        </p:spPr>
      </p:pic>
      <p:pic>
        <p:nvPicPr>
          <p:cNvPr id="40" name="Obrázek 39">
            <a:extLst>
              <a:ext uri="{FF2B5EF4-FFF2-40B4-BE49-F238E27FC236}">
                <a16:creationId xmlns:a16="http://schemas.microsoft.com/office/drawing/2014/main" id="{095A0CDF-F5D2-4923-8E5B-0AFE8A86FC23}"/>
              </a:ext>
            </a:extLst>
          </p:cNvPr>
          <p:cNvPicPr>
            <a:picLocks noChangeAspect="1"/>
          </p:cNvPicPr>
          <p:nvPr>
            <p:custDataLst>
              <p:tags r:id="rId18"/>
            </p:custDataLst>
          </p:nvPr>
        </p:nvPicPr>
        <p:blipFill>
          <a:blip r:embed="rId28">
            <a:extLst>
              <a:ext uri="{28A0092B-C50C-407E-A947-70E740481C1C}">
                <a14:useLocalDpi xmlns:a14="http://schemas.microsoft.com/office/drawing/2010/main" val="0"/>
              </a:ext>
            </a:extLst>
          </a:blip>
          <a:srcRect t="1539" b="1539"/>
          <a:stretch/>
        </p:blipFill>
        <p:spPr>
          <a:xfrm>
            <a:off x="317600" y="4301648"/>
            <a:ext cx="3519636" cy="2160000"/>
          </a:xfrm>
          <a:prstGeom prst="rect">
            <a:avLst/>
          </a:prstGeom>
        </p:spPr>
      </p:pic>
      <p:sp>
        <p:nvSpPr>
          <p:cNvPr id="42" name="TextBox 29">
            <a:extLst>
              <a:ext uri="{FF2B5EF4-FFF2-40B4-BE49-F238E27FC236}">
                <a16:creationId xmlns:a16="http://schemas.microsoft.com/office/drawing/2014/main" id="{D48CF0A5-83C8-4D9D-8567-F18E34CC4442}"/>
              </a:ext>
            </a:extLst>
          </p:cNvPr>
          <p:cNvSpPr txBox="1"/>
          <p:nvPr>
            <p:custDataLst>
              <p:tags r:id="rId19"/>
            </p:custDataLst>
          </p:nvPr>
        </p:nvSpPr>
        <p:spPr>
          <a:xfrm>
            <a:off x="880568" y="907075"/>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27. 11. 2021</a:t>
            </a:r>
          </a:p>
        </p:txBody>
      </p:sp>
      <p:sp>
        <p:nvSpPr>
          <p:cNvPr id="43" name="TextBox 29">
            <a:extLst>
              <a:ext uri="{FF2B5EF4-FFF2-40B4-BE49-F238E27FC236}">
                <a16:creationId xmlns:a16="http://schemas.microsoft.com/office/drawing/2014/main" id="{AFFD0A6C-23E1-4059-AC7D-578B853E1300}"/>
              </a:ext>
            </a:extLst>
          </p:cNvPr>
          <p:cNvSpPr txBox="1"/>
          <p:nvPr>
            <p:custDataLst>
              <p:tags r:id="rId20"/>
            </p:custDataLst>
          </p:nvPr>
        </p:nvSpPr>
        <p:spPr>
          <a:xfrm>
            <a:off x="4249106" y="940956"/>
            <a:ext cx="146546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4. 12. 2021</a:t>
            </a:r>
          </a:p>
        </p:txBody>
      </p:sp>
      <p:sp>
        <p:nvSpPr>
          <p:cNvPr id="45" name="TextBox 29">
            <a:extLst>
              <a:ext uri="{FF2B5EF4-FFF2-40B4-BE49-F238E27FC236}">
                <a16:creationId xmlns:a16="http://schemas.microsoft.com/office/drawing/2014/main" id="{D7C72098-7A0D-4C2B-9344-0F52AE070179}"/>
              </a:ext>
            </a:extLst>
          </p:cNvPr>
          <p:cNvSpPr txBox="1"/>
          <p:nvPr>
            <p:custDataLst>
              <p:tags r:id="rId21"/>
            </p:custDataLst>
          </p:nvPr>
        </p:nvSpPr>
        <p:spPr>
          <a:xfrm>
            <a:off x="762191" y="3890818"/>
            <a:ext cx="159396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11. 12. 2021</a:t>
            </a:r>
          </a:p>
        </p:txBody>
      </p:sp>
      <p:sp>
        <p:nvSpPr>
          <p:cNvPr id="35" name="TextBox 29">
            <a:extLst>
              <a:ext uri="{FF2B5EF4-FFF2-40B4-BE49-F238E27FC236}">
                <a16:creationId xmlns:a16="http://schemas.microsoft.com/office/drawing/2014/main" id="{8328A510-A1E6-484A-86B8-4C2D4A9C0AA0}"/>
              </a:ext>
            </a:extLst>
          </p:cNvPr>
          <p:cNvSpPr txBox="1"/>
          <p:nvPr>
            <p:custDataLst>
              <p:tags r:id="rId22"/>
            </p:custDataLst>
          </p:nvPr>
        </p:nvSpPr>
        <p:spPr>
          <a:xfrm>
            <a:off x="4096912" y="4013233"/>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21. 12. 2021</a:t>
            </a:r>
          </a:p>
        </p:txBody>
      </p:sp>
      <p:sp>
        <p:nvSpPr>
          <p:cNvPr id="36" name="Podnadpis 2">
            <a:extLst>
              <a:ext uri="{FF2B5EF4-FFF2-40B4-BE49-F238E27FC236}">
                <a16:creationId xmlns:a16="http://schemas.microsoft.com/office/drawing/2014/main" id="{AEA878B5-10F1-4318-832D-C8203A87133E}"/>
              </a:ext>
            </a:extLst>
          </p:cNvPr>
          <p:cNvSpPr txBox="1">
            <a:spLocks/>
          </p:cNvSpPr>
          <p:nvPr>
            <p:custDataLst>
              <p:tags r:id="rId23"/>
            </p:custDataLst>
          </p:nvPr>
        </p:nvSpPr>
        <p:spPr>
          <a:xfrm>
            <a:off x="8049430" y="4948018"/>
            <a:ext cx="3402314" cy="86726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Z map je patrný dlouhodobý ústup vysoké virové zátěže ve většině regionů ČR. </a:t>
            </a:r>
          </a:p>
        </p:txBody>
      </p:sp>
      <p:pic>
        <p:nvPicPr>
          <p:cNvPr id="37" name="Obrázek 36">
            <a:extLst>
              <a:ext uri="{FF2B5EF4-FFF2-40B4-BE49-F238E27FC236}">
                <a16:creationId xmlns:a16="http://schemas.microsoft.com/office/drawing/2014/main" id="{831CBC33-1799-4120-91C1-C8972BE79926}"/>
              </a:ext>
            </a:extLst>
          </p:cNvPr>
          <p:cNvPicPr>
            <a:picLocks noChangeAspect="1"/>
          </p:cNvPicPr>
          <p:nvPr>
            <p:custDataLst>
              <p:tags r:id="rId24"/>
            </p:custDataLst>
          </p:nvPr>
        </p:nvPicPr>
        <p:blipFill>
          <a:blip r:embed="rId29">
            <a:extLst>
              <a:ext uri="{28A0092B-C50C-407E-A947-70E740481C1C}">
                <a14:useLocalDpi xmlns:a14="http://schemas.microsoft.com/office/drawing/2010/main" val="0"/>
              </a:ext>
            </a:extLst>
          </a:blip>
          <a:srcRect t="1539" b="1539"/>
          <a:stretch/>
        </p:blipFill>
        <p:spPr>
          <a:xfrm>
            <a:off x="4013415" y="4466911"/>
            <a:ext cx="3402314" cy="2088000"/>
          </a:xfrm>
          <a:prstGeom prst="rect">
            <a:avLst/>
          </a:prstGeom>
        </p:spPr>
      </p:pic>
    </p:spTree>
    <p:extLst>
      <p:ext uri="{BB962C8B-B14F-4D97-AF65-F5344CB8AC3E}">
        <p14:creationId xmlns:p14="http://schemas.microsoft.com/office/powerpoint/2010/main" val="1573915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Graf 16">
            <a:extLst>
              <a:ext uri="{FF2B5EF4-FFF2-40B4-BE49-F238E27FC236}">
                <a16:creationId xmlns:a16="http://schemas.microsoft.com/office/drawing/2014/main" id="{856F0439-F6FE-4710-89AC-1AEE17C5706A}"/>
              </a:ext>
            </a:extLst>
          </p:cNvPr>
          <p:cNvGraphicFramePr/>
          <p:nvPr>
            <p:custDataLst>
              <p:tags r:id="rId1"/>
            </p:custDataLst>
          </p:nvPr>
        </p:nvGraphicFramePr>
        <p:xfrm>
          <a:off x="8562717" y="997797"/>
          <a:ext cx="3248580" cy="2703838"/>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13" name="Graf 16">
            <a:extLst>
              <a:ext uri="{FF2B5EF4-FFF2-40B4-BE49-F238E27FC236}">
                <a16:creationId xmlns:a16="http://schemas.microsoft.com/office/drawing/2014/main" id="{166B7D97-BEBD-4E5E-81E2-F9E328CD5D22}"/>
              </a:ext>
            </a:extLst>
          </p:cNvPr>
          <p:cNvGraphicFramePr/>
          <p:nvPr>
            <p:custDataLst>
              <p:tags r:id="rId2"/>
            </p:custDataLst>
          </p:nvPr>
        </p:nvGraphicFramePr>
        <p:xfrm>
          <a:off x="4991399" y="995652"/>
          <a:ext cx="3248580" cy="2703838"/>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12" name="Graf 16">
            <a:extLst>
              <a:ext uri="{FF2B5EF4-FFF2-40B4-BE49-F238E27FC236}">
                <a16:creationId xmlns:a16="http://schemas.microsoft.com/office/drawing/2014/main" id="{B4B8627B-5DBC-411E-9EA2-EBD9F3BCA597}"/>
              </a:ext>
            </a:extLst>
          </p:cNvPr>
          <p:cNvGraphicFramePr/>
          <p:nvPr>
            <p:custDataLst>
              <p:tags r:id="rId3"/>
            </p:custDataLst>
          </p:nvPr>
        </p:nvGraphicFramePr>
        <p:xfrm>
          <a:off x="1515748" y="960159"/>
          <a:ext cx="3248580" cy="2703838"/>
        </p:xfrm>
        <a:graphic>
          <a:graphicData uri="http://schemas.openxmlformats.org/drawingml/2006/chart">
            <c:chart xmlns:c="http://schemas.openxmlformats.org/drawingml/2006/chart" xmlns:r="http://schemas.openxmlformats.org/officeDocument/2006/relationships" r:id="rId27"/>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4"/>
            </p:custDataLst>
          </p:nvPr>
        </p:nvSpPr>
        <p:spPr>
          <a:xfrm>
            <a:off x="381739" y="2"/>
            <a:ext cx="7651307" cy="576000"/>
          </a:xfrm>
        </p:spPr>
        <p:txBody>
          <a:bodyPr/>
          <a:lstStyle/>
          <a:p>
            <a:r>
              <a:rPr lang="cs-CZ" dirty="0"/>
              <a:t>Počty nově COVID-19 pozitivních na 100 testů u dětí</a:t>
            </a:r>
          </a:p>
        </p:txBody>
      </p:sp>
      <p:sp>
        <p:nvSpPr>
          <p:cNvPr id="27" name="Obdélník 26">
            <a:extLst>
              <a:ext uri="{FF2B5EF4-FFF2-40B4-BE49-F238E27FC236}">
                <a16:creationId xmlns:a16="http://schemas.microsoft.com/office/drawing/2014/main" id="{47330F7D-030D-49C8-BE37-CEFFFE48B489}"/>
              </a:ext>
            </a:extLst>
          </p:cNvPr>
          <p:cNvSpPr/>
          <p:nvPr>
            <p:custDataLst>
              <p:tags r:id="rId5"/>
            </p:custDataLst>
          </p:nvPr>
        </p:nvSpPr>
        <p:spPr>
          <a:xfrm rot="16200000">
            <a:off x="-2822385" y="3547834"/>
            <a:ext cx="6312997" cy="369332"/>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lativní pozitivita indikovaných testů  za daný časový úsek</a:t>
            </a:r>
          </a:p>
        </p:txBody>
      </p:sp>
      <p:sp>
        <p:nvSpPr>
          <p:cNvPr id="6" name="Obdélník 4">
            <a:extLst>
              <a:ext uri="{FF2B5EF4-FFF2-40B4-BE49-F238E27FC236}">
                <a16:creationId xmlns:a16="http://schemas.microsoft.com/office/drawing/2014/main" id="{DD1D58ED-EA21-4D1C-A2C1-3A0FBF5C13C3}"/>
              </a:ext>
            </a:extLst>
          </p:cNvPr>
          <p:cNvSpPr/>
          <p:nvPr>
            <p:custDataLst>
              <p:tags r:id="rId6"/>
            </p:custDataLst>
          </p:nvPr>
        </p:nvSpPr>
        <p:spPr>
          <a:xfrm>
            <a:off x="1885942"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 roky</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Obdélník 18">
            <a:extLst>
              <a:ext uri="{FF2B5EF4-FFF2-40B4-BE49-F238E27FC236}">
                <a16:creationId xmlns:a16="http://schemas.microsoft.com/office/drawing/2014/main" id="{F0E72BFB-2257-4C5A-ACD2-E45B1B18C359}"/>
              </a:ext>
            </a:extLst>
          </p:cNvPr>
          <p:cNvSpPr/>
          <p:nvPr>
            <p:custDataLst>
              <p:tags r:id="rId7"/>
            </p:custDataLst>
          </p:nvPr>
        </p:nvSpPr>
        <p:spPr>
          <a:xfrm>
            <a:off x="5448847"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11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Obdélník 19">
            <a:extLst>
              <a:ext uri="{FF2B5EF4-FFF2-40B4-BE49-F238E27FC236}">
                <a16:creationId xmlns:a16="http://schemas.microsoft.com/office/drawing/2014/main" id="{44EE9007-43C8-4702-9074-65582EC007CA}"/>
              </a:ext>
            </a:extLst>
          </p:cNvPr>
          <p:cNvSpPr/>
          <p:nvPr>
            <p:custDataLst>
              <p:tags r:id="rId8"/>
            </p:custDataLst>
          </p:nvPr>
        </p:nvSpPr>
        <p:spPr>
          <a:xfrm>
            <a:off x="9030610"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19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ovéPole 8">
            <a:extLst>
              <a:ext uri="{FF2B5EF4-FFF2-40B4-BE49-F238E27FC236}">
                <a16:creationId xmlns:a16="http://schemas.microsoft.com/office/drawing/2014/main" id="{BD690D54-2DC9-4410-83BB-44088219E7A9}"/>
              </a:ext>
            </a:extLst>
          </p:cNvPr>
          <p:cNvSpPr txBox="1"/>
          <p:nvPr>
            <p:custDataLst>
              <p:tags r:id="rId9"/>
            </p:custDataLst>
          </p:nvPr>
        </p:nvSpPr>
        <p:spPr>
          <a:xfrm>
            <a:off x="3667360" y="2537921"/>
            <a:ext cx="90492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2 118</a:t>
            </a:r>
          </a:p>
        </p:txBody>
      </p:sp>
      <p:sp>
        <p:nvSpPr>
          <p:cNvPr id="10" name="TextovéPole 9">
            <a:extLst>
              <a:ext uri="{FF2B5EF4-FFF2-40B4-BE49-F238E27FC236}">
                <a16:creationId xmlns:a16="http://schemas.microsoft.com/office/drawing/2014/main" id="{E199D18E-5E7D-4F12-A901-6A2AEEDCFC11}"/>
              </a:ext>
            </a:extLst>
          </p:cNvPr>
          <p:cNvSpPr txBox="1"/>
          <p:nvPr>
            <p:custDataLst>
              <p:tags r:id="rId10"/>
            </p:custDataLst>
          </p:nvPr>
        </p:nvSpPr>
        <p:spPr>
          <a:xfrm>
            <a:off x="7155160" y="2537921"/>
            <a:ext cx="90853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3 352</a:t>
            </a:r>
          </a:p>
        </p:txBody>
      </p:sp>
      <p:sp>
        <p:nvSpPr>
          <p:cNvPr id="11" name="TextovéPole 10">
            <a:extLst>
              <a:ext uri="{FF2B5EF4-FFF2-40B4-BE49-F238E27FC236}">
                <a16:creationId xmlns:a16="http://schemas.microsoft.com/office/drawing/2014/main" id="{E10DB0B0-480C-4662-8E9E-7B7D33F1E9E9}"/>
              </a:ext>
            </a:extLst>
          </p:cNvPr>
          <p:cNvSpPr txBox="1"/>
          <p:nvPr>
            <p:custDataLst>
              <p:tags r:id="rId11"/>
            </p:custDataLst>
          </p:nvPr>
        </p:nvSpPr>
        <p:spPr>
          <a:xfrm>
            <a:off x="10724990" y="2494007"/>
            <a:ext cx="84099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4 598</a:t>
            </a:r>
          </a:p>
        </p:txBody>
      </p:sp>
      <p:sp>
        <p:nvSpPr>
          <p:cNvPr id="15" name="Obdélník 11">
            <a:extLst>
              <a:ext uri="{FF2B5EF4-FFF2-40B4-BE49-F238E27FC236}">
                <a16:creationId xmlns:a16="http://schemas.microsoft.com/office/drawing/2014/main" id="{4A07716D-7607-4057-A4A3-18CB32A9915E}"/>
              </a:ext>
            </a:extLst>
          </p:cNvPr>
          <p:cNvSpPr/>
          <p:nvPr>
            <p:custDataLst>
              <p:tags r:id="rId12"/>
            </p:custDataLst>
          </p:nvPr>
        </p:nvSpPr>
        <p:spPr>
          <a:xfrm rot="16200000">
            <a:off x="-46432" y="1724028"/>
            <a:ext cx="2345015" cy="646331"/>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a:t>
            </a:r>
            <a:r>
              <a:rPr kumimoji="0" lang="en-US" sz="1800" b="1" i="1"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esty</a:t>
            </a: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s diagnostickou nebo klinickou indikací</a:t>
            </a:r>
          </a:p>
        </p:txBody>
      </p:sp>
      <p:graphicFrame>
        <p:nvGraphicFramePr>
          <p:cNvPr id="16" name="Graf 16">
            <a:extLst>
              <a:ext uri="{FF2B5EF4-FFF2-40B4-BE49-F238E27FC236}">
                <a16:creationId xmlns:a16="http://schemas.microsoft.com/office/drawing/2014/main" id="{FC178F2D-468E-4086-8D6C-F8E5C41DAEBA}"/>
              </a:ext>
            </a:extLst>
          </p:cNvPr>
          <p:cNvGraphicFramePr/>
          <p:nvPr>
            <p:custDataLst>
              <p:tags r:id="rId13"/>
            </p:custDataLst>
          </p:nvPr>
        </p:nvGraphicFramePr>
        <p:xfrm>
          <a:off x="5062894" y="4061021"/>
          <a:ext cx="3185498" cy="2760878"/>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17" name="Graf 16">
            <a:extLst>
              <a:ext uri="{FF2B5EF4-FFF2-40B4-BE49-F238E27FC236}">
                <a16:creationId xmlns:a16="http://schemas.microsoft.com/office/drawing/2014/main" id="{9DA990E9-067F-4876-9A42-83506757984B}"/>
              </a:ext>
            </a:extLst>
          </p:cNvPr>
          <p:cNvGraphicFramePr/>
          <p:nvPr>
            <p:custDataLst>
              <p:tags r:id="rId14"/>
            </p:custDataLst>
          </p:nvPr>
        </p:nvGraphicFramePr>
        <p:xfrm>
          <a:off x="1703090" y="4030290"/>
          <a:ext cx="3185498" cy="2760878"/>
        </p:xfrm>
        <a:graphic>
          <a:graphicData uri="http://schemas.openxmlformats.org/drawingml/2006/chart">
            <c:chart xmlns:c="http://schemas.openxmlformats.org/drawingml/2006/chart" xmlns:r="http://schemas.openxmlformats.org/officeDocument/2006/relationships" r:id="rId29"/>
          </a:graphicData>
        </a:graphic>
      </p:graphicFrame>
      <p:sp>
        <p:nvSpPr>
          <p:cNvPr id="18" name="Obdélník 17">
            <a:extLst>
              <a:ext uri="{FF2B5EF4-FFF2-40B4-BE49-F238E27FC236}">
                <a16:creationId xmlns:a16="http://schemas.microsoft.com/office/drawing/2014/main" id="{20F21985-BE29-4410-8B72-DF7EF0B1CC38}"/>
              </a:ext>
            </a:extLst>
          </p:cNvPr>
          <p:cNvSpPr/>
          <p:nvPr>
            <p:custDataLst>
              <p:tags r:id="rId15"/>
            </p:custDataLst>
          </p:nvPr>
        </p:nvSpPr>
        <p:spPr>
          <a:xfrm>
            <a:off x="1837713" y="3814800"/>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 roky</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Obdélník 18">
            <a:extLst>
              <a:ext uri="{FF2B5EF4-FFF2-40B4-BE49-F238E27FC236}">
                <a16:creationId xmlns:a16="http://schemas.microsoft.com/office/drawing/2014/main" id="{2E8A12E5-885C-464E-B211-E3CE5AF39BF8}"/>
              </a:ext>
            </a:extLst>
          </p:cNvPr>
          <p:cNvSpPr/>
          <p:nvPr>
            <p:custDataLst>
              <p:tags r:id="rId16"/>
            </p:custDataLst>
          </p:nvPr>
        </p:nvSpPr>
        <p:spPr>
          <a:xfrm>
            <a:off x="5515144" y="3850901"/>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11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Obdélník 19">
            <a:extLst>
              <a:ext uri="{FF2B5EF4-FFF2-40B4-BE49-F238E27FC236}">
                <a16:creationId xmlns:a16="http://schemas.microsoft.com/office/drawing/2014/main" id="{4CCE7D08-CFB6-457E-9140-5A538F84C5B5}"/>
              </a:ext>
            </a:extLst>
          </p:cNvPr>
          <p:cNvSpPr/>
          <p:nvPr>
            <p:custDataLst>
              <p:tags r:id="rId17"/>
            </p:custDataLst>
          </p:nvPr>
        </p:nvSpPr>
        <p:spPr>
          <a:xfrm>
            <a:off x="9096907" y="3850901"/>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19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21" name="Graf 16">
            <a:extLst>
              <a:ext uri="{FF2B5EF4-FFF2-40B4-BE49-F238E27FC236}">
                <a16:creationId xmlns:a16="http://schemas.microsoft.com/office/drawing/2014/main" id="{EC81438C-49E9-4368-BA41-8E121DF7D330}"/>
              </a:ext>
            </a:extLst>
          </p:cNvPr>
          <p:cNvGraphicFramePr/>
          <p:nvPr>
            <p:custDataLst>
              <p:tags r:id="rId18"/>
            </p:custDataLst>
          </p:nvPr>
        </p:nvGraphicFramePr>
        <p:xfrm>
          <a:off x="8625799" y="4097122"/>
          <a:ext cx="3185498" cy="2760878"/>
        </p:xfrm>
        <a:graphic>
          <a:graphicData uri="http://schemas.openxmlformats.org/drawingml/2006/chart">
            <c:chart xmlns:c="http://schemas.openxmlformats.org/drawingml/2006/chart" xmlns:r="http://schemas.openxmlformats.org/officeDocument/2006/relationships" r:id="rId30"/>
          </a:graphicData>
        </a:graphic>
      </p:graphicFrame>
      <p:sp>
        <p:nvSpPr>
          <p:cNvPr id="22" name="Obdélník 11">
            <a:extLst>
              <a:ext uri="{FF2B5EF4-FFF2-40B4-BE49-F238E27FC236}">
                <a16:creationId xmlns:a16="http://schemas.microsoft.com/office/drawing/2014/main" id="{310543E2-7B68-43E1-9DED-5AD55425B3F8}"/>
              </a:ext>
            </a:extLst>
          </p:cNvPr>
          <p:cNvSpPr/>
          <p:nvPr>
            <p:custDataLst>
              <p:tags r:id="rId19"/>
            </p:custDataLst>
          </p:nvPr>
        </p:nvSpPr>
        <p:spPr>
          <a:xfrm rot="16200000">
            <a:off x="-128361" y="4681509"/>
            <a:ext cx="2610368" cy="646331"/>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esty s epidemiologickou indikací </a:t>
            </a:r>
          </a:p>
        </p:txBody>
      </p:sp>
      <p:sp>
        <p:nvSpPr>
          <p:cNvPr id="23" name="TextovéPole 22">
            <a:extLst>
              <a:ext uri="{FF2B5EF4-FFF2-40B4-BE49-F238E27FC236}">
                <a16:creationId xmlns:a16="http://schemas.microsoft.com/office/drawing/2014/main" id="{5DFDEDA3-4E2F-4057-981A-6E7B4585B132}"/>
              </a:ext>
            </a:extLst>
          </p:cNvPr>
          <p:cNvSpPr txBox="1"/>
          <p:nvPr>
            <p:custDataLst>
              <p:tags r:id="rId20"/>
            </p:custDataLst>
          </p:nvPr>
        </p:nvSpPr>
        <p:spPr>
          <a:xfrm>
            <a:off x="3727637" y="5643925"/>
            <a:ext cx="86914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16 357</a:t>
            </a:r>
          </a:p>
        </p:txBody>
      </p:sp>
      <p:sp>
        <p:nvSpPr>
          <p:cNvPr id="24" name="TextovéPole 23">
            <a:extLst>
              <a:ext uri="{FF2B5EF4-FFF2-40B4-BE49-F238E27FC236}">
                <a16:creationId xmlns:a16="http://schemas.microsoft.com/office/drawing/2014/main" id="{19FE67B9-8FB7-4BF2-9424-D526A7D45773}"/>
              </a:ext>
            </a:extLst>
          </p:cNvPr>
          <p:cNvSpPr txBox="1"/>
          <p:nvPr>
            <p:custDataLst>
              <p:tags r:id="rId21"/>
            </p:custDataLst>
          </p:nvPr>
        </p:nvSpPr>
        <p:spPr>
          <a:xfrm>
            <a:off x="10724990" y="5650502"/>
            <a:ext cx="94481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48 783</a:t>
            </a:r>
          </a:p>
        </p:txBody>
      </p:sp>
      <p:sp>
        <p:nvSpPr>
          <p:cNvPr id="25" name="TextovéPole 24">
            <a:extLst>
              <a:ext uri="{FF2B5EF4-FFF2-40B4-BE49-F238E27FC236}">
                <a16:creationId xmlns:a16="http://schemas.microsoft.com/office/drawing/2014/main" id="{E4A198F3-9D77-4FDB-8519-26A15BFB74DD}"/>
              </a:ext>
            </a:extLst>
          </p:cNvPr>
          <p:cNvSpPr txBox="1"/>
          <p:nvPr>
            <p:custDataLst>
              <p:tags r:id="rId22"/>
            </p:custDataLst>
          </p:nvPr>
        </p:nvSpPr>
        <p:spPr>
          <a:xfrm>
            <a:off x="7121797" y="5735390"/>
            <a:ext cx="91124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66 895</a:t>
            </a:r>
          </a:p>
        </p:txBody>
      </p:sp>
    </p:spTree>
    <p:extLst>
      <p:ext uri="{BB962C8B-B14F-4D97-AF65-F5344CB8AC3E}">
        <p14:creationId xmlns:p14="http://schemas.microsoft.com/office/powerpoint/2010/main" val="922827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Graf 16">
            <a:extLst>
              <a:ext uri="{FF2B5EF4-FFF2-40B4-BE49-F238E27FC236}">
                <a16:creationId xmlns:a16="http://schemas.microsoft.com/office/drawing/2014/main" id="{5376CAB2-9F8D-4C3F-BCE7-D0AD679ED038}"/>
              </a:ext>
            </a:extLst>
          </p:cNvPr>
          <p:cNvGraphicFramePr/>
          <p:nvPr>
            <p:custDataLst>
              <p:tags r:id="rId1"/>
            </p:custDataLst>
          </p:nvPr>
        </p:nvGraphicFramePr>
        <p:xfrm>
          <a:off x="5062894" y="4061021"/>
          <a:ext cx="3185498" cy="2760878"/>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40" name="Graf 16">
            <a:extLst>
              <a:ext uri="{FF2B5EF4-FFF2-40B4-BE49-F238E27FC236}">
                <a16:creationId xmlns:a16="http://schemas.microsoft.com/office/drawing/2014/main" id="{1D9BFA5A-5B80-4652-A32C-FC120BE43727}"/>
              </a:ext>
            </a:extLst>
          </p:cNvPr>
          <p:cNvGraphicFramePr/>
          <p:nvPr>
            <p:custDataLst>
              <p:tags r:id="rId2"/>
            </p:custDataLst>
          </p:nvPr>
        </p:nvGraphicFramePr>
        <p:xfrm>
          <a:off x="1703090" y="4030290"/>
          <a:ext cx="3185498" cy="2760878"/>
        </p:xfrm>
        <a:graphic>
          <a:graphicData uri="http://schemas.openxmlformats.org/drawingml/2006/chart">
            <c:chart xmlns:c="http://schemas.openxmlformats.org/drawingml/2006/chart" xmlns:r="http://schemas.openxmlformats.org/officeDocument/2006/relationships" r:id="rId26"/>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3"/>
            </p:custDataLst>
          </p:nvPr>
        </p:nvSpPr>
        <p:spPr>
          <a:xfrm>
            <a:off x="381739" y="2"/>
            <a:ext cx="8180978" cy="576000"/>
          </a:xfrm>
        </p:spPr>
        <p:txBody>
          <a:bodyPr/>
          <a:lstStyle/>
          <a:p>
            <a:r>
              <a:rPr lang="cs-CZ" dirty="0"/>
              <a:t>Počty nově COVID-19 pozitivních na 100 testů u dospělých</a:t>
            </a:r>
          </a:p>
        </p:txBody>
      </p:sp>
      <p:sp>
        <p:nvSpPr>
          <p:cNvPr id="5" name="Obdélník 4">
            <a:extLst>
              <a:ext uri="{FF2B5EF4-FFF2-40B4-BE49-F238E27FC236}">
                <a16:creationId xmlns:a16="http://schemas.microsoft.com/office/drawing/2014/main" id="{F110567F-ED9A-4B75-8A99-2C76347C8E2F}"/>
              </a:ext>
            </a:extLst>
          </p:cNvPr>
          <p:cNvSpPr/>
          <p:nvPr>
            <p:custDataLst>
              <p:tags r:id="rId4"/>
            </p:custDataLst>
          </p:nvPr>
        </p:nvSpPr>
        <p:spPr>
          <a:xfrm>
            <a:off x="1837713" y="3814800"/>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29</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Obdélník 18">
            <a:extLst>
              <a:ext uri="{FF2B5EF4-FFF2-40B4-BE49-F238E27FC236}">
                <a16:creationId xmlns:a16="http://schemas.microsoft.com/office/drawing/2014/main" id="{96DFE862-337B-42DF-9CE0-613BB419EE5E}"/>
              </a:ext>
            </a:extLst>
          </p:cNvPr>
          <p:cNvSpPr/>
          <p:nvPr>
            <p:custDataLst>
              <p:tags r:id="rId5"/>
            </p:custDataLst>
          </p:nvPr>
        </p:nvSpPr>
        <p:spPr>
          <a:xfrm>
            <a:off x="5515144" y="3850901"/>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59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Obdélník 19">
            <a:extLst>
              <a:ext uri="{FF2B5EF4-FFF2-40B4-BE49-F238E27FC236}">
                <a16:creationId xmlns:a16="http://schemas.microsoft.com/office/drawing/2014/main" id="{6268F6CC-8AED-4B18-94E5-6D17E31A331E}"/>
              </a:ext>
            </a:extLst>
          </p:cNvPr>
          <p:cNvSpPr/>
          <p:nvPr>
            <p:custDataLst>
              <p:tags r:id="rId6"/>
            </p:custDataLst>
          </p:nvPr>
        </p:nvSpPr>
        <p:spPr>
          <a:xfrm>
            <a:off x="9096907" y="3850901"/>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Obdélník 4">
            <a:extLst>
              <a:ext uri="{FF2B5EF4-FFF2-40B4-BE49-F238E27FC236}">
                <a16:creationId xmlns:a16="http://schemas.microsoft.com/office/drawing/2014/main" id="{201F6F44-1A1F-4938-A91E-85733E1BBD42}"/>
              </a:ext>
            </a:extLst>
          </p:cNvPr>
          <p:cNvSpPr/>
          <p:nvPr>
            <p:custDataLst>
              <p:tags r:id="rId7"/>
            </p:custDataLst>
          </p:nvPr>
        </p:nvSpPr>
        <p:spPr>
          <a:xfrm>
            <a:off x="1885942"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29</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Obdélník 18">
            <a:extLst>
              <a:ext uri="{FF2B5EF4-FFF2-40B4-BE49-F238E27FC236}">
                <a16:creationId xmlns:a16="http://schemas.microsoft.com/office/drawing/2014/main" id="{09378E26-1A0F-49EA-84B8-0F2F31134957}"/>
              </a:ext>
            </a:extLst>
          </p:cNvPr>
          <p:cNvSpPr/>
          <p:nvPr>
            <p:custDataLst>
              <p:tags r:id="rId8"/>
            </p:custDataLst>
          </p:nvPr>
        </p:nvSpPr>
        <p:spPr>
          <a:xfrm>
            <a:off x="5448847"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59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Obdélník 19">
            <a:extLst>
              <a:ext uri="{FF2B5EF4-FFF2-40B4-BE49-F238E27FC236}">
                <a16:creationId xmlns:a16="http://schemas.microsoft.com/office/drawing/2014/main" id="{357A4323-961E-4F3F-952E-33FADA0EFC40}"/>
              </a:ext>
            </a:extLst>
          </p:cNvPr>
          <p:cNvSpPr/>
          <p:nvPr>
            <p:custDataLst>
              <p:tags r:id="rId9"/>
            </p:custDataLst>
          </p:nvPr>
        </p:nvSpPr>
        <p:spPr>
          <a:xfrm>
            <a:off x="9030610"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6" name="Graf 16">
            <a:extLst>
              <a:ext uri="{FF2B5EF4-FFF2-40B4-BE49-F238E27FC236}">
                <a16:creationId xmlns:a16="http://schemas.microsoft.com/office/drawing/2014/main" id="{5344641D-2322-48FA-B46D-EBF942D0F408}"/>
              </a:ext>
            </a:extLst>
          </p:cNvPr>
          <p:cNvGraphicFramePr/>
          <p:nvPr>
            <p:custDataLst>
              <p:tags r:id="rId10"/>
            </p:custDataLst>
          </p:nvPr>
        </p:nvGraphicFramePr>
        <p:xfrm>
          <a:off x="1515748" y="960159"/>
          <a:ext cx="3248580" cy="2703838"/>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32" name="Graf 16">
            <a:extLst>
              <a:ext uri="{FF2B5EF4-FFF2-40B4-BE49-F238E27FC236}">
                <a16:creationId xmlns:a16="http://schemas.microsoft.com/office/drawing/2014/main" id="{0D0112F6-E60E-4310-AF92-E2A52E7E4780}"/>
              </a:ext>
            </a:extLst>
          </p:cNvPr>
          <p:cNvGraphicFramePr/>
          <p:nvPr>
            <p:custDataLst>
              <p:tags r:id="rId11"/>
            </p:custDataLst>
          </p:nvPr>
        </p:nvGraphicFramePr>
        <p:xfrm>
          <a:off x="8562717" y="997797"/>
          <a:ext cx="3248580" cy="2703838"/>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37" name="Graf 16">
            <a:extLst>
              <a:ext uri="{FF2B5EF4-FFF2-40B4-BE49-F238E27FC236}">
                <a16:creationId xmlns:a16="http://schemas.microsoft.com/office/drawing/2014/main" id="{3AB67F15-6F38-430D-A4EB-52989DEB4CB6}"/>
              </a:ext>
            </a:extLst>
          </p:cNvPr>
          <p:cNvGraphicFramePr/>
          <p:nvPr>
            <p:custDataLst>
              <p:tags r:id="rId12"/>
            </p:custDataLst>
          </p:nvPr>
        </p:nvGraphicFramePr>
        <p:xfrm>
          <a:off x="8625799" y="4097122"/>
          <a:ext cx="3185498" cy="2760878"/>
        </p:xfrm>
        <a:graphic>
          <a:graphicData uri="http://schemas.openxmlformats.org/drawingml/2006/chart">
            <c:chart xmlns:c="http://schemas.openxmlformats.org/drawingml/2006/chart" xmlns:r="http://schemas.openxmlformats.org/officeDocument/2006/relationships" r:id="rId29"/>
          </a:graphicData>
        </a:graphic>
      </p:graphicFrame>
      <p:sp>
        <p:nvSpPr>
          <p:cNvPr id="30" name="Obdélník 11">
            <a:extLst>
              <a:ext uri="{FF2B5EF4-FFF2-40B4-BE49-F238E27FC236}">
                <a16:creationId xmlns:a16="http://schemas.microsoft.com/office/drawing/2014/main" id="{F2791115-767B-49CC-9447-EF63B7164EC7}"/>
              </a:ext>
            </a:extLst>
          </p:cNvPr>
          <p:cNvSpPr/>
          <p:nvPr>
            <p:custDataLst>
              <p:tags r:id="rId13"/>
            </p:custDataLst>
          </p:nvPr>
        </p:nvSpPr>
        <p:spPr>
          <a:xfrm rot="16200000">
            <a:off x="-128361" y="4681509"/>
            <a:ext cx="2610368" cy="646331"/>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esty s epidemiologickou indikací </a:t>
            </a:r>
          </a:p>
        </p:txBody>
      </p:sp>
      <p:sp>
        <p:nvSpPr>
          <p:cNvPr id="31" name="Obdélník 11">
            <a:extLst>
              <a:ext uri="{FF2B5EF4-FFF2-40B4-BE49-F238E27FC236}">
                <a16:creationId xmlns:a16="http://schemas.microsoft.com/office/drawing/2014/main" id="{1D89C329-75F4-4B21-9699-DBED3E583FE2}"/>
              </a:ext>
            </a:extLst>
          </p:cNvPr>
          <p:cNvSpPr/>
          <p:nvPr>
            <p:custDataLst>
              <p:tags r:id="rId14"/>
            </p:custDataLst>
          </p:nvPr>
        </p:nvSpPr>
        <p:spPr>
          <a:xfrm rot="16200000">
            <a:off x="-46432" y="1724028"/>
            <a:ext cx="2345015" cy="646331"/>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a:t>
            </a:r>
            <a:r>
              <a:rPr kumimoji="0" lang="en-US" sz="1800" b="1" i="1"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esty</a:t>
            </a: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s diagnostickou nebo klinickou indikací</a:t>
            </a:r>
          </a:p>
        </p:txBody>
      </p:sp>
      <p:sp>
        <p:nvSpPr>
          <p:cNvPr id="24" name="TextovéPole 23">
            <a:extLst>
              <a:ext uri="{FF2B5EF4-FFF2-40B4-BE49-F238E27FC236}">
                <a16:creationId xmlns:a16="http://schemas.microsoft.com/office/drawing/2014/main" id="{3765CE34-BA7B-4D0A-BDD0-7754F6E059CC}"/>
              </a:ext>
            </a:extLst>
          </p:cNvPr>
          <p:cNvSpPr txBox="1"/>
          <p:nvPr>
            <p:custDataLst>
              <p:tags r:id="rId15"/>
            </p:custDataLst>
          </p:nvPr>
        </p:nvSpPr>
        <p:spPr>
          <a:xfrm>
            <a:off x="3826970" y="5643925"/>
            <a:ext cx="86914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15 189</a:t>
            </a:r>
          </a:p>
        </p:txBody>
      </p:sp>
      <p:sp>
        <p:nvSpPr>
          <p:cNvPr id="26" name="TextovéPole 25">
            <a:extLst>
              <a:ext uri="{FF2B5EF4-FFF2-40B4-BE49-F238E27FC236}">
                <a16:creationId xmlns:a16="http://schemas.microsoft.com/office/drawing/2014/main" id="{395EB96D-4360-4A5F-BBA6-DD6970FBD8AF}"/>
              </a:ext>
            </a:extLst>
          </p:cNvPr>
          <p:cNvSpPr txBox="1"/>
          <p:nvPr>
            <p:custDataLst>
              <p:tags r:id="rId16"/>
            </p:custDataLst>
          </p:nvPr>
        </p:nvSpPr>
        <p:spPr>
          <a:xfrm>
            <a:off x="3619377" y="2357516"/>
            <a:ext cx="85285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10 298</a:t>
            </a:r>
          </a:p>
        </p:txBody>
      </p:sp>
      <p:sp>
        <p:nvSpPr>
          <p:cNvPr id="35" name="TextovéPole 34">
            <a:extLst>
              <a:ext uri="{FF2B5EF4-FFF2-40B4-BE49-F238E27FC236}">
                <a16:creationId xmlns:a16="http://schemas.microsoft.com/office/drawing/2014/main" id="{CB50F700-BD9B-4F07-9F57-5ACB46BC8E81}"/>
              </a:ext>
            </a:extLst>
          </p:cNvPr>
          <p:cNvSpPr txBox="1"/>
          <p:nvPr>
            <p:custDataLst>
              <p:tags r:id="rId17"/>
            </p:custDataLst>
          </p:nvPr>
        </p:nvSpPr>
        <p:spPr>
          <a:xfrm>
            <a:off x="10711036" y="2484474"/>
            <a:ext cx="84099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17 622</a:t>
            </a:r>
          </a:p>
        </p:txBody>
      </p:sp>
      <p:sp>
        <p:nvSpPr>
          <p:cNvPr id="38" name="TextovéPole 37">
            <a:extLst>
              <a:ext uri="{FF2B5EF4-FFF2-40B4-BE49-F238E27FC236}">
                <a16:creationId xmlns:a16="http://schemas.microsoft.com/office/drawing/2014/main" id="{2A38787E-9710-4D2A-A711-372AE644843A}"/>
              </a:ext>
            </a:extLst>
          </p:cNvPr>
          <p:cNvSpPr txBox="1"/>
          <p:nvPr>
            <p:custDataLst>
              <p:tags r:id="rId18"/>
            </p:custDataLst>
          </p:nvPr>
        </p:nvSpPr>
        <p:spPr>
          <a:xfrm>
            <a:off x="10553833" y="5676829"/>
            <a:ext cx="125746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10 870</a:t>
            </a:r>
          </a:p>
        </p:txBody>
      </p:sp>
      <p:sp>
        <p:nvSpPr>
          <p:cNvPr id="39" name="TextovéPole 38">
            <a:extLst>
              <a:ext uri="{FF2B5EF4-FFF2-40B4-BE49-F238E27FC236}">
                <a16:creationId xmlns:a16="http://schemas.microsoft.com/office/drawing/2014/main" id="{4A9C1513-F4A3-42A4-BC61-9C1BE01CB4D7}"/>
              </a:ext>
            </a:extLst>
          </p:cNvPr>
          <p:cNvSpPr txBox="1"/>
          <p:nvPr>
            <p:custDataLst>
              <p:tags r:id="rId19"/>
            </p:custDataLst>
          </p:nvPr>
        </p:nvSpPr>
        <p:spPr>
          <a:xfrm>
            <a:off x="7168987" y="5748322"/>
            <a:ext cx="100244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71 345</a:t>
            </a:r>
          </a:p>
        </p:txBody>
      </p:sp>
      <p:graphicFrame>
        <p:nvGraphicFramePr>
          <p:cNvPr id="33" name="Graf 16">
            <a:extLst>
              <a:ext uri="{FF2B5EF4-FFF2-40B4-BE49-F238E27FC236}">
                <a16:creationId xmlns:a16="http://schemas.microsoft.com/office/drawing/2014/main" id="{FF7478D0-4F14-453D-98E4-880C29392C22}"/>
              </a:ext>
            </a:extLst>
          </p:cNvPr>
          <p:cNvGraphicFramePr/>
          <p:nvPr>
            <p:custDataLst>
              <p:tags r:id="rId20"/>
            </p:custDataLst>
          </p:nvPr>
        </p:nvGraphicFramePr>
        <p:xfrm>
          <a:off x="4991399" y="982720"/>
          <a:ext cx="3248580" cy="2703838"/>
        </p:xfrm>
        <a:graphic>
          <a:graphicData uri="http://schemas.openxmlformats.org/drawingml/2006/chart">
            <c:chart xmlns:c="http://schemas.openxmlformats.org/drawingml/2006/chart" xmlns:r="http://schemas.openxmlformats.org/officeDocument/2006/relationships" r:id="rId30"/>
          </a:graphicData>
        </a:graphic>
      </p:graphicFrame>
      <p:sp>
        <p:nvSpPr>
          <p:cNvPr id="36" name="TextovéPole 35">
            <a:extLst>
              <a:ext uri="{FF2B5EF4-FFF2-40B4-BE49-F238E27FC236}">
                <a16:creationId xmlns:a16="http://schemas.microsoft.com/office/drawing/2014/main" id="{1F5D9FF1-3F0D-4810-A20D-A66491732671}"/>
              </a:ext>
            </a:extLst>
          </p:cNvPr>
          <p:cNvSpPr txBox="1"/>
          <p:nvPr>
            <p:custDataLst>
              <p:tags r:id="rId21"/>
            </p:custDataLst>
          </p:nvPr>
        </p:nvSpPr>
        <p:spPr>
          <a:xfrm>
            <a:off x="7168987" y="2441095"/>
            <a:ext cx="85285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36 887</a:t>
            </a:r>
          </a:p>
        </p:txBody>
      </p:sp>
      <p:sp>
        <p:nvSpPr>
          <p:cNvPr id="25" name="Obdélník 24">
            <a:extLst>
              <a:ext uri="{FF2B5EF4-FFF2-40B4-BE49-F238E27FC236}">
                <a16:creationId xmlns:a16="http://schemas.microsoft.com/office/drawing/2014/main" id="{F2974107-24EC-461D-A43E-2DB14B5D4C87}"/>
              </a:ext>
            </a:extLst>
          </p:cNvPr>
          <p:cNvSpPr/>
          <p:nvPr>
            <p:custDataLst>
              <p:tags r:id="rId22"/>
            </p:custDataLst>
          </p:nvPr>
        </p:nvSpPr>
        <p:spPr>
          <a:xfrm rot="16200000">
            <a:off x="-2822385" y="3547834"/>
            <a:ext cx="6312997" cy="369332"/>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lativní pozitivita indikovaných testů  za daný časový úsek </a:t>
            </a:r>
          </a:p>
        </p:txBody>
      </p:sp>
    </p:spTree>
    <p:extLst>
      <p:ext uri="{BB962C8B-B14F-4D97-AF65-F5344CB8AC3E}">
        <p14:creationId xmlns:p14="http://schemas.microsoft.com/office/powerpoint/2010/main" val="21181172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9337041" cy="576000"/>
          </a:xfrm>
        </p:spPr>
        <p:txBody>
          <a:bodyPr/>
          <a:lstStyle/>
          <a:p>
            <a:r>
              <a:rPr lang="cs-CZ" sz="2400" dirty="0">
                <a:latin typeface="+mn-lt"/>
              </a:rPr>
              <a:t>Denní počet a predikovaný počet </a:t>
            </a:r>
            <a:r>
              <a:rPr lang="cs-CZ" sz="2400" u="sng" dirty="0">
                <a:latin typeface="+mn-lt"/>
              </a:rPr>
              <a:t>zemřelých</a:t>
            </a:r>
            <a:endParaRPr lang="cs-CZ" sz="2400" dirty="0">
              <a:latin typeface="+mn-lt"/>
            </a:endParaRPr>
          </a:p>
        </p:txBody>
      </p:sp>
      <p:sp>
        <p:nvSpPr>
          <p:cNvPr id="23" name="Rectangle 22">
            <a:extLst>
              <a:ext uri="{FF2B5EF4-FFF2-40B4-BE49-F238E27FC236}">
                <a16:creationId xmlns:a16="http://schemas.microsoft.com/office/drawing/2014/main" id="{830D37DF-B158-4FF6-B3AF-9F71D8756D6C}"/>
              </a:ext>
            </a:extLst>
          </p:cNvPr>
          <p:cNvSpPr/>
          <p:nvPr/>
        </p:nvSpPr>
        <p:spPr>
          <a:xfrm rot="16200000">
            <a:off x="-712917" y="3049018"/>
            <a:ext cx="195438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zemřelých </a:t>
            </a:r>
          </a:p>
        </p:txBody>
      </p:sp>
      <p:sp>
        <p:nvSpPr>
          <p:cNvPr id="13" name="TextovéPole 24">
            <a:extLst>
              <a:ext uri="{FF2B5EF4-FFF2-40B4-BE49-F238E27FC236}">
                <a16:creationId xmlns:a16="http://schemas.microsoft.com/office/drawing/2014/main" id="{356AD256-F024-4D63-9373-F3FB5E040A66}"/>
              </a:ext>
            </a:extLst>
          </p:cNvPr>
          <p:cNvSpPr txBox="1"/>
          <p:nvPr>
            <p:custDataLst>
              <p:tags r:id="rId1"/>
            </p:custDataLst>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sp>
        <p:nvSpPr>
          <p:cNvPr id="22" name="Rectangle 4">
            <a:extLst>
              <a:ext uri="{FF2B5EF4-FFF2-40B4-BE49-F238E27FC236}">
                <a16:creationId xmlns:a16="http://schemas.microsoft.com/office/drawing/2014/main" id="{9441A87E-A8FC-4007-AC68-6166D83D63A4}"/>
              </a:ext>
            </a:extLst>
          </p:cNvPr>
          <p:cNvSpPr/>
          <p:nvPr/>
        </p:nvSpPr>
        <p:spPr>
          <a:xfrm>
            <a:off x="6196840" y="782308"/>
            <a:ext cx="407900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29" name="TextovéPole 25">
            <a:extLst>
              <a:ext uri="{FF2B5EF4-FFF2-40B4-BE49-F238E27FC236}">
                <a16:creationId xmlns:a16="http://schemas.microsoft.com/office/drawing/2014/main" id="{C6F0A2C6-FAE4-4BEF-82FF-2F37E8C9572C}"/>
              </a:ext>
            </a:extLst>
          </p:cNvPr>
          <p:cNvSpPr txBox="1"/>
          <p:nvPr>
            <p:custDataLst>
              <p:tags r:id="rId2"/>
            </p:custDataLst>
          </p:nvPr>
        </p:nvSpPr>
        <p:spPr>
          <a:xfrm>
            <a:off x="8236341" y="5107474"/>
            <a:ext cx="3899632"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Model počítá o</a:t>
            </a: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d 1.9. s normálními kontakty a dílčím zvýšením základní reprodukce v důsledku sezónnosti, s větší eskalací v průběhu října. Od 25.10. uvažovaný dopad podzimních prázdnin a dílčího zpřísnění opatření, snížení kontaktů a základní reprodukce o </a:t>
            </a:r>
            <a:r>
              <a:rPr kumimoji="0" lang="cs-CZ" sz="1100" b="0" i="1" u="sng" strike="noStrike" kern="0" cap="none" spc="0" normalizeH="0" baseline="0" noProof="0" dirty="0">
                <a:ln>
                  <a:noFill/>
                </a:ln>
                <a:solidFill>
                  <a:prstClr val="black"/>
                </a:solidFill>
                <a:effectLst/>
                <a:uLnTx/>
                <a:uFillTx/>
                <a:latin typeface="Calibri" panose="020F0502020204030204"/>
                <a:ea typeface="+mn-ea"/>
                <a:cs typeface="+mn-cs"/>
              </a:rPr>
              <a:t>20 %</a:t>
            </a: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lang="cs-CZ" sz="1100" b="0" i="1" u="sng"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0" name="TextovéPole 29">
            <a:extLst>
              <a:ext uri="{FF2B5EF4-FFF2-40B4-BE49-F238E27FC236}">
                <a16:creationId xmlns:a16="http://schemas.microsoft.com/office/drawing/2014/main" id="{4679F713-FC07-4A4A-A3A7-3BA5897F61DE}"/>
              </a:ext>
            </a:extLst>
          </p:cNvPr>
          <p:cNvSpPr txBox="1"/>
          <p:nvPr>
            <p:custDataLst>
              <p:tags r:id="rId3"/>
            </p:custDataLst>
          </p:nvPr>
        </p:nvSpPr>
        <p:spPr>
          <a:xfrm>
            <a:off x="8469911" y="2846604"/>
            <a:ext cx="3642482" cy="43088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Scénář II: rizikový vývoj s významnými zdravotními dopady, střední další růst</a:t>
            </a:r>
          </a:p>
        </p:txBody>
      </p:sp>
      <p:sp>
        <p:nvSpPr>
          <p:cNvPr id="31" name="TextovéPole 30">
            <a:extLst>
              <a:ext uri="{FF2B5EF4-FFF2-40B4-BE49-F238E27FC236}">
                <a16:creationId xmlns:a16="http://schemas.microsoft.com/office/drawing/2014/main" id="{74A9550E-26E4-48C1-95D9-DE94F2BC8450}"/>
              </a:ext>
            </a:extLst>
          </p:cNvPr>
          <p:cNvSpPr txBox="1"/>
          <p:nvPr>
            <p:custDataLst>
              <p:tags r:id="rId4"/>
            </p:custDataLst>
          </p:nvPr>
        </p:nvSpPr>
        <p:spPr>
          <a:xfrm>
            <a:off x="8469911" y="4564358"/>
            <a:ext cx="3642482" cy="43088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Scénář I: rizikový vývoj s významnými zdravotními dopady, nízký další růst</a:t>
            </a:r>
          </a:p>
        </p:txBody>
      </p:sp>
      <p:sp>
        <p:nvSpPr>
          <p:cNvPr id="32" name="TextovéPole 29">
            <a:extLst>
              <a:ext uri="{FF2B5EF4-FFF2-40B4-BE49-F238E27FC236}">
                <a16:creationId xmlns:a16="http://schemas.microsoft.com/office/drawing/2014/main" id="{24B405D0-788A-45E4-BF55-7DACDEEB8089}"/>
              </a:ext>
            </a:extLst>
          </p:cNvPr>
          <p:cNvSpPr txBox="1"/>
          <p:nvPr>
            <p:custDataLst>
              <p:tags r:id="rId5"/>
            </p:custDataLst>
          </p:nvPr>
        </p:nvSpPr>
        <p:spPr>
          <a:xfrm>
            <a:off x="8469911" y="1210292"/>
            <a:ext cx="3642482" cy="43088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Scénář III: rizikový vývoj s významnými zdravotními dopady, významný další růst</a:t>
            </a:r>
          </a:p>
        </p:txBody>
      </p:sp>
      <p:cxnSp>
        <p:nvCxnSpPr>
          <p:cNvPr id="33" name="Přímá spojnice 32">
            <a:extLst>
              <a:ext uri="{FF2B5EF4-FFF2-40B4-BE49-F238E27FC236}">
                <a16:creationId xmlns:a16="http://schemas.microsoft.com/office/drawing/2014/main" id="{4CD3E84B-B536-4FDC-8FE0-31D0D9D04A10}"/>
              </a:ext>
            </a:extLst>
          </p:cNvPr>
          <p:cNvCxnSpPr>
            <a:cxnSpLocks/>
          </p:cNvCxnSpPr>
          <p:nvPr>
            <p:custDataLst>
              <p:tags r:id="rId6"/>
            </p:custDataLst>
          </p:nvPr>
        </p:nvCxnSpPr>
        <p:spPr>
          <a:xfrm>
            <a:off x="7981523" y="3006415"/>
            <a:ext cx="432000" cy="0"/>
          </a:xfrm>
          <a:prstGeom prst="line">
            <a:avLst/>
          </a:prstGeom>
          <a:ln w="38100">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34" name="Přímá spojnice 33">
            <a:extLst>
              <a:ext uri="{FF2B5EF4-FFF2-40B4-BE49-F238E27FC236}">
                <a16:creationId xmlns:a16="http://schemas.microsoft.com/office/drawing/2014/main" id="{80476F62-4FA8-4C1A-8101-5E7BD0F256CA}"/>
              </a:ext>
            </a:extLst>
          </p:cNvPr>
          <p:cNvCxnSpPr>
            <a:cxnSpLocks/>
          </p:cNvCxnSpPr>
          <p:nvPr>
            <p:custDataLst>
              <p:tags r:id="rId7"/>
            </p:custDataLst>
          </p:nvPr>
        </p:nvCxnSpPr>
        <p:spPr>
          <a:xfrm>
            <a:off x="7981523" y="4718707"/>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cxnSp>
        <p:nvCxnSpPr>
          <p:cNvPr id="35" name="Přímá spojnice 20">
            <a:extLst>
              <a:ext uri="{FF2B5EF4-FFF2-40B4-BE49-F238E27FC236}">
                <a16:creationId xmlns:a16="http://schemas.microsoft.com/office/drawing/2014/main" id="{C94C988A-B402-4769-BC54-DA984D7CB354}"/>
              </a:ext>
            </a:extLst>
          </p:cNvPr>
          <p:cNvCxnSpPr>
            <a:cxnSpLocks/>
          </p:cNvCxnSpPr>
          <p:nvPr>
            <p:custDataLst>
              <p:tags r:id="rId8"/>
            </p:custDataLst>
          </p:nvPr>
        </p:nvCxnSpPr>
        <p:spPr>
          <a:xfrm>
            <a:off x="7981523" y="1362286"/>
            <a:ext cx="432000" cy="0"/>
          </a:xfrm>
          <a:prstGeom prst="line">
            <a:avLst/>
          </a:prstGeom>
          <a:ln w="38100">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36" name="TextovéPole 25">
            <a:extLst>
              <a:ext uri="{FF2B5EF4-FFF2-40B4-BE49-F238E27FC236}">
                <a16:creationId xmlns:a16="http://schemas.microsoft.com/office/drawing/2014/main" id="{89EBC6BC-0033-44DA-AB0E-94625C5DC38A}"/>
              </a:ext>
            </a:extLst>
          </p:cNvPr>
          <p:cNvSpPr txBox="1"/>
          <p:nvPr>
            <p:custDataLst>
              <p:tags r:id="rId9"/>
            </p:custDataLst>
          </p:nvPr>
        </p:nvSpPr>
        <p:spPr>
          <a:xfrm>
            <a:off x="8236341" y="3299969"/>
            <a:ext cx="3899632"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Model počítá o</a:t>
            </a: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d 1.9. s normálními kontakty a dílčím zvýšením základní reprodukce v důsledku sezónnosti, s větší eskalací v průběhu října. Od 25.10. uvažovaný dopad podzimních prázdnin a dílčího zpřísnění opatření, snížení kontaktů a základní reprodukce o </a:t>
            </a:r>
            <a:r>
              <a:rPr kumimoji="0" lang="cs-CZ" sz="1100" b="0" i="1" u="sng" strike="noStrike" kern="0" cap="none" spc="0" normalizeH="0" baseline="0" noProof="0" dirty="0">
                <a:ln>
                  <a:noFill/>
                </a:ln>
                <a:solidFill>
                  <a:prstClr val="black"/>
                </a:solidFill>
                <a:effectLst/>
                <a:uLnTx/>
                <a:uFillTx/>
                <a:latin typeface="Calibri" panose="020F0502020204030204"/>
                <a:ea typeface="+mn-ea"/>
                <a:cs typeface="+mn-cs"/>
              </a:rPr>
              <a:t>20 %. Od listopadu se počítá opět s dílčím zvýšením počtu kontaktů.</a:t>
            </a:r>
          </a:p>
        </p:txBody>
      </p:sp>
      <p:sp>
        <p:nvSpPr>
          <p:cNvPr id="37" name="TextovéPole 25">
            <a:extLst>
              <a:ext uri="{FF2B5EF4-FFF2-40B4-BE49-F238E27FC236}">
                <a16:creationId xmlns:a16="http://schemas.microsoft.com/office/drawing/2014/main" id="{8189B6F5-4B4D-4D7E-B81B-1C6D90802364}"/>
              </a:ext>
            </a:extLst>
          </p:cNvPr>
          <p:cNvSpPr txBox="1"/>
          <p:nvPr>
            <p:custDataLst>
              <p:tags r:id="rId10"/>
            </p:custDataLst>
          </p:nvPr>
        </p:nvSpPr>
        <p:spPr>
          <a:xfrm>
            <a:off x="8292368" y="1662332"/>
            <a:ext cx="3899632"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Model počítá o</a:t>
            </a: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d 1.9. s normálními kontakty a dílčím zvýšením základní reprodukce v důsledku sezónnosti, s větší eskalací v průběhu října. Od 25.10. uvažovaný dopad podzimních prázdnin a dílčího zpřísnění opatření, snížení kontaktů a základní reprodukce o </a:t>
            </a:r>
            <a:r>
              <a:rPr kumimoji="0" lang="cs-CZ" sz="1100" b="0" i="1" u="sng" strike="noStrike" kern="0" cap="none" spc="0" normalizeH="0" baseline="0" noProof="0" dirty="0">
                <a:ln>
                  <a:noFill/>
                </a:ln>
                <a:solidFill>
                  <a:prstClr val="black"/>
                </a:solidFill>
                <a:effectLst/>
                <a:uLnTx/>
                <a:uFillTx/>
                <a:latin typeface="Calibri" panose="020F0502020204030204"/>
                <a:ea typeface="+mn-ea"/>
                <a:cs typeface="+mn-cs"/>
              </a:rPr>
              <a:t>20 %. Od listopadu se počítá opět s významnějším zvýšením počtu kontaktů.</a:t>
            </a:r>
          </a:p>
        </p:txBody>
      </p:sp>
      <p:graphicFrame>
        <p:nvGraphicFramePr>
          <p:cNvPr id="38" name="Chart 37">
            <a:extLst>
              <a:ext uri="{FF2B5EF4-FFF2-40B4-BE49-F238E27FC236}">
                <a16:creationId xmlns:a16="http://schemas.microsoft.com/office/drawing/2014/main" id="{FDF5EA4B-36A8-4D56-AEEB-041F35A94A7D}"/>
              </a:ext>
            </a:extLst>
          </p:cNvPr>
          <p:cNvGraphicFramePr/>
          <p:nvPr>
            <p:custDataLst>
              <p:tags r:id="rId11"/>
            </p:custData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3"/>
          </a:graphicData>
        </a:graphic>
      </p:graphicFrame>
      <p:cxnSp>
        <p:nvCxnSpPr>
          <p:cNvPr id="3" name="Přímá spojnice se šipkou 2">
            <a:extLst>
              <a:ext uri="{FF2B5EF4-FFF2-40B4-BE49-F238E27FC236}">
                <a16:creationId xmlns:a16="http://schemas.microsoft.com/office/drawing/2014/main" id="{DBB9CC90-0D6B-4333-A006-6FD8B96DA088}"/>
              </a:ext>
            </a:extLst>
          </p:cNvPr>
          <p:cNvCxnSpPr/>
          <p:nvPr/>
        </p:nvCxnSpPr>
        <p:spPr>
          <a:xfrm>
            <a:off x="1123525" y="3599481"/>
            <a:ext cx="500347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TextovéPole 3">
            <a:extLst>
              <a:ext uri="{FF2B5EF4-FFF2-40B4-BE49-F238E27FC236}">
                <a16:creationId xmlns:a16="http://schemas.microsoft.com/office/drawing/2014/main" id="{79CD8427-007F-4D55-B7DC-BCA371F50464}"/>
              </a:ext>
            </a:extLst>
          </p:cNvPr>
          <p:cNvSpPr txBox="1"/>
          <p:nvPr/>
        </p:nvSpPr>
        <p:spPr>
          <a:xfrm>
            <a:off x="1123525" y="2770328"/>
            <a:ext cx="5203122" cy="707886"/>
          </a:xfrm>
          <a:prstGeom prst="rect">
            <a:avLst/>
          </a:prstGeom>
          <a:noFill/>
        </p:spPr>
        <p:txBody>
          <a:bodyPr wrap="square" rtlCol="0">
            <a:spAutoFit/>
          </a:bodyPr>
          <a:lstStyle/>
          <a:p>
            <a:pPr algn="ctr"/>
            <a:r>
              <a:rPr lang="cs-CZ" sz="2000" b="1" dirty="0">
                <a:solidFill>
                  <a:srgbClr val="FF0000"/>
                </a:solidFill>
              </a:rPr>
              <a:t>Denně je </a:t>
            </a:r>
            <a:r>
              <a:rPr lang="cs-CZ" sz="2000" b="1" dirty="0" err="1">
                <a:solidFill>
                  <a:srgbClr val="FF0000"/>
                </a:solidFill>
              </a:rPr>
              <a:t>dohlašováno</a:t>
            </a:r>
            <a:r>
              <a:rPr lang="cs-CZ" sz="2000" b="1" dirty="0">
                <a:solidFill>
                  <a:srgbClr val="FF0000"/>
                </a:solidFill>
              </a:rPr>
              <a:t> cca 65 – 70 zemřelých pacientů pozitivních na COVID-19</a:t>
            </a:r>
            <a:endParaRPr lang="en-US" sz="2000" b="1" dirty="0">
              <a:solidFill>
                <a:srgbClr val="FF0000"/>
              </a:solidFill>
            </a:endParaRPr>
          </a:p>
        </p:txBody>
      </p:sp>
    </p:spTree>
    <p:extLst>
      <p:ext uri="{BB962C8B-B14F-4D97-AF65-F5344CB8AC3E}">
        <p14:creationId xmlns:p14="http://schemas.microsoft.com/office/powerpoint/2010/main" val="25389826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2"/>
            </p:custDataLst>
          </p:nvPr>
        </p:nvSpPr>
        <p:spPr>
          <a:xfrm>
            <a:off x="0" y="3693109"/>
            <a:ext cx="12192000" cy="2317166"/>
          </a:xfrm>
        </p:spPr>
        <p:txBody>
          <a:bodyPr>
            <a:normAutofit/>
          </a:bodyPr>
          <a:lstStyle/>
          <a:p>
            <a:r>
              <a:rPr lang="cs-CZ" sz="4800" b="1" dirty="0">
                <a:solidFill>
                  <a:srgbClr val="FF0000"/>
                </a:solidFill>
              </a:rPr>
              <a:t>Negativní zpráva</a:t>
            </a:r>
            <a:r>
              <a:rPr lang="cs-CZ" sz="4600" b="1" i="1" dirty="0">
                <a:solidFill>
                  <a:srgbClr val="FF0000"/>
                </a:solidFill>
              </a:rPr>
              <a:t>:</a:t>
            </a:r>
            <a:r>
              <a:rPr lang="cs-CZ" sz="4600" b="1" i="1" dirty="0">
                <a:solidFill>
                  <a:srgbClr val="0000FF"/>
                </a:solidFill>
              </a:rPr>
              <a:t> </a:t>
            </a:r>
            <a:r>
              <a:rPr lang="cs-CZ" sz="4600" b="1" dirty="0"/>
              <a:t>pokles zátěže intenzivní péče je pomalý, stále čelíme vysoké prevalenci nákaz  u potenciálně zranitelných pacientů </a:t>
            </a:r>
            <a:endParaRPr lang="cs-CZ" sz="4800" b="1" dirty="0"/>
          </a:p>
        </p:txBody>
      </p:sp>
    </p:spTree>
    <p:extLst>
      <p:ext uri="{BB962C8B-B14F-4D97-AF65-F5344CB8AC3E}">
        <p14:creationId xmlns:p14="http://schemas.microsoft.com/office/powerpoint/2010/main" val="1391890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4">
            <a:extLst>
              <a:ext uri="{FF2B5EF4-FFF2-40B4-BE49-F238E27FC236}">
                <a16:creationId xmlns:a16="http://schemas.microsoft.com/office/drawing/2014/main" id="{833A5CE7-EFE4-4FF9-8B90-B0FD849FE351}"/>
              </a:ext>
            </a:extLst>
          </p:cNvPr>
          <p:cNvGraphicFramePr/>
          <p:nvPr>
            <p:custDataLst>
              <p:tags r:id="rId1"/>
            </p:custDataLst>
          </p:nvPr>
        </p:nvGraphicFramePr>
        <p:xfrm>
          <a:off x="95247" y="2824205"/>
          <a:ext cx="12030075" cy="4033795"/>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ovéPole 11">
            <a:extLst>
              <a:ext uri="{FF2B5EF4-FFF2-40B4-BE49-F238E27FC236}">
                <a16:creationId xmlns:a16="http://schemas.microsoft.com/office/drawing/2014/main" id="{CB45B59F-8A81-4DD2-B8A6-842CB8B659F3}"/>
              </a:ext>
            </a:extLst>
          </p:cNvPr>
          <p:cNvSpPr txBox="1"/>
          <p:nvPr>
            <p:custDataLst>
              <p:tags r:id="rId2"/>
            </p:custDataLst>
          </p:nvPr>
        </p:nvSpPr>
        <p:spPr>
          <a:xfrm>
            <a:off x="2259882" y="1419252"/>
            <a:ext cx="2362704" cy="830997"/>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FFFFFF"/>
                </a:solidFill>
                <a:effectLst/>
                <a:uLnTx/>
                <a:uFillTx/>
                <a:latin typeface="Arial" panose="020B0604020202020204"/>
                <a:ea typeface="+mn-ea"/>
                <a:cs typeface="+mn-cs"/>
              </a:rPr>
              <a:t>Populace seniorů 65+ let</a:t>
            </a:r>
          </a:p>
        </p:txBody>
      </p:sp>
      <p:graphicFrame>
        <p:nvGraphicFramePr>
          <p:cNvPr id="8" name="Tabulka 3">
            <a:extLst>
              <a:ext uri="{FF2B5EF4-FFF2-40B4-BE49-F238E27FC236}">
                <a16:creationId xmlns:a16="http://schemas.microsoft.com/office/drawing/2014/main" id="{BD7252EE-5071-4E6F-8048-257003F8720A}"/>
              </a:ext>
            </a:extLst>
          </p:cNvPr>
          <p:cNvGraphicFramePr>
            <a:graphicFrameLocks noGrp="1"/>
          </p:cNvGraphicFramePr>
          <p:nvPr>
            <p:custDataLst>
              <p:tags r:id="rId3"/>
            </p:custDataLst>
            <p:extLst>
              <p:ext uri="{D42A27DB-BD31-4B8C-83A1-F6EECF244321}">
                <p14:modId xmlns:p14="http://schemas.microsoft.com/office/powerpoint/2010/main" val="1761052164"/>
              </p:ext>
            </p:extLst>
          </p:nvPr>
        </p:nvGraphicFramePr>
        <p:xfrm>
          <a:off x="5647156" y="1287503"/>
          <a:ext cx="4551676" cy="1583055"/>
        </p:xfrm>
        <a:graphic>
          <a:graphicData uri="http://schemas.openxmlformats.org/drawingml/2006/table">
            <a:tbl>
              <a:tblPr firstRow="1" bandRow="1">
                <a:tableStyleId>{5C22544A-7EE6-4342-B048-85BDC9FD1C3A}</a:tableStyleId>
              </a:tblPr>
              <a:tblGrid>
                <a:gridCol w="3203642">
                  <a:extLst>
                    <a:ext uri="{9D8B030D-6E8A-4147-A177-3AD203B41FA5}">
                      <a16:colId xmlns:a16="http://schemas.microsoft.com/office/drawing/2014/main" val="653187899"/>
                    </a:ext>
                  </a:extLst>
                </a:gridCol>
                <a:gridCol w="1348034">
                  <a:extLst>
                    <a:ext uri="{9D8B030D-6E8A-4147-A177-3AD203B41FA5}">
                      <a16:colId xmlns:a16="http://schemas.microsoft.com/office/drawing/2014/main" val="3486415745"/>
                    </a:ext>
                  </a:extLst>
                </a:gridCol>
              </a:tblGrid>
              <a:tr h="370840">
                <a:tc gridSpan="2">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cs-CZ" sz="2400" b="1" u="sng" dirty="0">
                          <a:solidFill>
                            <a:srgbClr val="0000CC"/>
                          </a:solidFill>
                          <a:latin typeface="+mn-lt"/>
                        </a:rPr>
                        <a:t>Nově diagnostikovaní ve věku 6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cs-CZ" sz="3600" b="1" dirty="0">
                        <a:solidFill>
                          <a:srgbClr val="C0000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8616699"/>
                  </a:ext>
                </a:extLst>
              </a:tr>
              <a:tr h="370840">
                <a:tc>
                  <a:txBody>
                    <a:bodyPr/>
                    <a:lstStyle/>
                    <a:p>
                      <a:pPr algn="l" rtl="0" fontAlgn="ctr"/>
                      <a:r>
                        <a:rPr lang="cs-CZ" sz="2400" b="0" i="0" u="none" strike="noStrike" dirty="0">
                          <a:solidFill>
                            <a:srgbClr val="0000CC"/>
                          </a:solidFill>
                          <a:effectLst/>
                          <a:latin typeface="Calibri" panose="020F0502020204030204" pitchFamily="34" charset="0"/>
                        </a:rPr>
                        <a:t>Za uplynulé 3 dny:</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fontAlgn="b"/>
                      <a:r>
                        <a:rPr lang="cs-CZ" sz="2400" b="0" i="0" u="none" strike="noStrike" kern="1200" dirty="0">
                          <a:solidFill>
                            <a:srgbClr val="0000CC"/>
                          </a:solidFill>
                          <a:effectLst/>
                          <a:latin typeface="Calibri" panose="020F0502020204030204" pitchFamily="34" charset="0"/>
                          <a:ea typeface="+mn-ea"/>
                          <a:cs typeface="+mn-cs"/>
                        </a:rPr>
                        <a:t>2 158</a:t>
                      </a:r>
                    </a:p>
                  </a:txBody>
                  <a:tcPr marL="9525" marR="9525" marT="9525"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8293902"/>
                  </a:ext>
                </a:extLst>
              </a:tr>
              <a:tr h="370840">
                <a:tc>
                  <a:txBody>
                    <a:bodyPr/>
                    <a:lstStyle/>
                    <a:p>
                      <a:pPr algn="l" rtl="0" fontAlgn="ctr"/>
                      <a:r>
                        <a:rPr lang="cs-CZ" sz="2400" b="0" i="0" u="none" strike="noStrike" dirty="0">
                          <a:solidFill>
                            <a:srgbClr val="0000CC"/>
                          </a:solidFill>
                          <a:effectLst/>
                          <a:latin typeface="Calibri" panose="020F0502020204030204" pitchFamily="34" charset="0"/>
                        </a:rPr>
                        <a:t>Za uplynulých 7 dní:</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cs-CZ" sz="2400" b="0" i="0" u="none" strike="noStrike" kern="1200" dirty="0">
                          <a:solidFill>
                            <a:srgbClr val="0000CC"/>
                          </a:solidFill>
                          <a:effectLst/>
                          <a:latin typeface="Calibri" panose="020F0502020204030204" pitchFamily="34" charset="0"/>
                          <a:ea typeface="+mn-ea"/>
                          <a:cs typeface="+mn-cs"/>
                        </a:rPr>
                        <a:t>5 69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68834070"/>
                  </a:ext>
                </a:extLst>
              </a:tr>
              <a:tr h="370840">
                <a:tc>
                  <a:txBody>
                    <a:bodyPr/>
                    <a:lstStyle/>
                    <a:p>
                      <a:pPr algn="l" rtl="0" fontAlgn="ctr"/>
                      <a:r>
                        <a:rPr lang="cs-CZ" sz="2400" b="0" i="0" u="none" strike="noStrike" dirty="0">
                          <a:solidFill>
                            <a:srgbClr val="0000CC"/>
                          </a:solidFill>
                          <a:effectLst/>
                          <a:latin typeface="Calibri" panose="020F0502020204030204" pitchFamily="34" charset="0"/>
                        </a:rPr>
                        <a:t>Za uplynulých 14 dní:</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cs-CZ" sz="2400" b="0" i="0" u="none" strike="noStrike" kern="1200" dirty="0">
                          <a:solidFill>
                            <a:srgbClr val="0000CC"/>
                          </a:solidFill>
                          <a:effectLst/>
                          <a:latin typeface="Calibri" panose="020F0502020204030204" pitchFamily="34" charset="0"/>
                          <a:ea typeface="+mn-ea"/>
                          <a:cs typeface="+mn-cs"/>
                        </a:rPr>
                        <a:t>13 879</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0741784"/>
                  </a:ext>
                </a:extLst>
              </a:tr>
            </a:tbl>
          </a:graphicData>
        </a:graphic>
      </p:graphicFrame>
      <p:sp>
        <p:nvSpPr>
          <p:cNvPr id="14" name="TextovéPole 13">
            <a:extLst>
              <a:ext uri="{FF2B5EF4-FFF2-40B4-BE49-F238E27FC236}">
                <a16:creationId xmlns:a16="http://schemas.microsoft.com/office/drawing/2014/main" id="{7C764D1A-68C2-47CF-9E50-A28EB0F2ED2D}"/>
              </a:ext>
            </a:extLst>
          </p:cNvPr>
          <p:cNvSpPr txBox="1"/>
          <p:nvPr>
            <p:custDataLst>
              <p:tags r:id="rId4"/>
            </p:custDataLst>
          </p:nvPr>
        </p:nvSpPr>
        <p:spPr>
          <a:xfrm>
            <a:off x="419690" y="76563"/>
            <a:ext cx="1133450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Počet nově nakažených potenciálně zranitelných pacientů klesá. Nicméně prevalence těchto rizikových nákaz je stále vysoká, jak ukazuje předvánoční vývoj na grafu níže. </a:t>
            </a:r>
            <a:endParaRPr kumimoji="0" lang="cs-CZ" sz="2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7" name="TextovéPole 16">
            <a:extLst>
              <a:ext uri="{FF2B5EF4-FFF2-40B4-BE49-F238E27FC236}">
                <a16:creationId xmlns:a16="http://schemas.microsoft.com/office/drawing/2014/main" id="{EA269EE1-023D-4923-A274-306C012431E7}"/>
              </a:ext>
            </a:extLst>
          </p:cNvPr>
          <p:cNvSpPr txBox="1"/>
          <p:nvPr/>
        </p:nvSpPr>
        <p:spPr>
          <a:xfrm rot="16200000">
            <a:off x="-1310973" y="4539702"/>
            <a:ext cx="309199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enní počty nových případů</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1867A7D7-46D7-40B4-9583-FBF1650F7CB3}"/>
              </a:ext>
            </a:extLst>
          </p:cNvPr>
          <p:cNvSpPr txBox="1"/>
          <p:nvPr>
            <p:custDataLst>
              <p:tags r:id="rId5"/>
            </p:custDataLst>
          </p:nvPr>
        </p:nvSpPr>
        <p:spPr>
          <a:xfrm>
            <a:off x="1339273" y="3628666"/>
            <a:ext cx="5800829" cy="923330"/>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Týdenní počet nově nakažených seniorů je stále cca 300 případů/100. tis. obyvatel. Zátěž těchto populačních skupin nadále udržuje vysokou zátěž nemocnic. </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8362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custDataLst>
              <p:tags r:id="rId1"/>
            </p:custDataLst>
          </p:nvPr>
        </p:nvSpPr>
        <p:spPr>
          <a:xfrm>
            <a:off x="169682" y="18010"/>
            <a:ext cx="11886453"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0" cap="none" spc="0" normalizeH="0" baseline="0" noProof="0" dirty="0">
                <a:ln>
                  <a:noFill/>
                </a:ln>
                <a:solidFill>
                  <a:prstClr val="black"/>
                </a:solidFill>
                <a:effectLst/>
                <a:uLnTx/>
                <a:uFillTx/>
                <a:latin typeface="Calibri" panose="020F0502020204030204"/>
                <a:ea typeface="+mn-ea"/>
                <a:cs typeface="+mn-cs"/>
              </a:rPr>
              <a:t>Poslední předvánoční „Risk </a:t>
            </a:r>
            <a:r>
              <a:rPr kumimoji="0" lang="cs-CZ" sz="3000" b="1" i="0" u="none" strike="noStrike" kern="0" cap="none" spc="0" normalizeH="0" baseline="0" noProof="0" dirty="0" err="1">
                <a:ln>
                  <a:noFill/>
                </a:ln>
                <a:solidFill>
                  <a:prstClr val="black"/>
                </a:solidFill>
                <a:effectLst/>
                <a:uLnTx/>
                <a:uFillTx/>
                <a:latin typeface="Calibri" panose="020F0502020204030204"/>
                <a:ea typeface="+mn-ea"/>
                <a:cs typeface="+mn-cs"/>
              </a:rPr>
              <a:t>mapping</a:t>
            </a:r>
            <a:r>
              <a:rPr kumimoji="0" lang="cs-CZ" sz="3000" b="1" i="0" u="none" strike="noStrike" kern="0" cap="none" spc="0" normalizeH="0" baseline="0" noProof="0" dirty="0">
                <a:ln>
                  <a:noFill/>
                </a:ln>
                <a:solidFill>
                  <a:prstClr val="black"/>
                </a:solidFill>
                <a:effectLst/>
                <a:uLnTx/>
                <a:uFillTx/>
                <a:latin typeface="Calibri" panose="020F0502020204030204"/>
                <a:ea typeface="+mn-ea"/>
                <a:cs typeface="+mn-cs"/>
              </a:rPr>
              <a:t>“: stav k 22.12. 2021</a:t>
            </a:r>
            <a:endParaRPr kumimoji="0" lang="cs-CZ" sz="3000" b="0" i="1" u="none" strike="noStrike" kern="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2" name="Tabulka 1">
            <a:extLst>
              <a:ext uri="{FF2B5EF4-FFF2-40B4-BE49-F238E27FC236}">
                <a16:creationId xmlns:a16="http://schemas.microsoft.com/office/drawing/2014/main" id="{D02DADA3-9265-4338-B995-BC5506738393}"/>
              </a:ext>
            </a:extLst>
          </p:cNvPr>
          <p:cNvGraphicFramePr>
            <a:graphicFrameLocks noGrp="1"/>
          </p:cNvGraphicFramePr>
          <p:nvPr>
            <p:custDataLst>
              <p:tags r:id="rId2"/>
            </p:custDataLst>
            <p:extLst>
              <p:ext uri="{D42A27DB-BD31-4B8C-83A1-F6EECF244321}">
                <p14:modId xmlns:p14="http://schemas.microsoft.com/office/powerpoint/2010/main" val="682394686"/>
              </p:ext>
            </p:extLst>
          </p:nvPr>
        </p:nvGraphicFramePr>
        <p:xfrm>
          <a:off x="169682" y="630823"/>
          <a:ext cx="11886455" cy="5400654"/>
        </p:xfrm>
        <a:graphic>
          <a:graphicData uri="http://schemas.openxmlformats.org/drawingml/2006/table">
            <a:tbl>
              <a:tblPr/>
              <a:tblGrid>
                <a:gridCol w="1032454">
                  <a:extLst>
                    <a:ext uri="{9D8B030D-6E8A-4147-A177-3AD203B41FA5}">
                      <a16:colId xmlns:a16="http://schemas.microsoft.com/office/drawing/2014/main" val="628184715"/>
                    </a:ext>
                  </a:extLst>
                </a:gridCol>
                <a:gridCol w="1098637">
                  <a:extLst>
                    <a:ext uri="{9D8B030D-6E8A-4147-A177-3AD203B41FA5}">
                      <a16:colId xmlns:a16="http://schemas.microsoft.com/office/drawing/2014/main" val="633375813"/>
                    </a:ext>
                  </a:extLst>
                </a:gridCol>
                <a:gridCol w="2064907">
                  <a:extLst>
                    <a:ext uri="{9D8B030D-6E8A-4147-A177-3AD203B41FA5}">
                      <a16:colId xmlns:a16="http://schemas.microsoft.com/office/drawing/2014/main" val="3426650794"/>
                    </a:ext>
                  </a:extLst>
                </a:gridCol>
                <a:gridCol w="1125110">
                  <a:extLst>
                    <a:ext uri="{9D8B030D-6E8A-4147-A177-3AD203B41FA5}">
                      <a16:colId xmlns:a16="http://schemas.microsoft.com/office/drawing/2014/main" val="2336497228"/>
                    </a:ext>
                  </a:extLst>
                </a:gridCol>
                <a:gridCol w="1125110">
                  <a:extLst>
                    <a:ext uri="{9D8B030D-6E8A-4147-A177-3AD203B41FA5}">
                      <a16:colId xmlns:a16="http://schemas.microsoft.com/office/drawing/2014/main" val="3736840712"/>
                    </a:ext>
                  </a:extLst>
                </a:gridCol>
                <a:gridCol w="1125110">
                  <a:extLst>
                    <a:ext uri="{9D8B030D-6E8A-4147-A177-3AD203B41FA5}">
                      <a16:colId xmlns:a16="http://schemas.microsoft.com/office/drawing/2014/main" val="875772001"/>
                    </a:ext>
                  </a:extLst>
                </a:gridCol>
                <a:gridCol w="1125110">
                  <a:extLst>
                    <a:ext uri="{9D8B030D-6E8A-4147-A177-3AD203B41FA5}">
                      <a16:colId xmlns:a16="http://schemas.microsoft.com/office/drawing/2014/main" val="2452106000"/>
                    </a:ext>
                  </a:extLst>
                </a:gridCol>
                <a:gridCol w="1125110">
                  <a:extLst>
                    <a:ext uri="{9D8B030D-6E8A-4147-A177-3AD203B41FA5}">
                      <a16:colId xmlns:a16="http://schemas.microsoft.com/office/drawing/2014/main" val="1528303367"/>
                    </a:ext>
                  </a:extLst>
                </a:gridCol>
                <a:gridCol w="2064907">
                  <a:extLst>
                    <a:ext uri="{9D8B030D-6E8A-4147-A177-3AD203B41FA5}">
                      <a16:colId xmlns:a16="http://schemas.microsoft.com/office/drawing/2014/main" val="3110388802"/>
                    </a:ext>
                  </a:extLst>
                </a:gridCol>
              </a:tblGrid>
              <a:tr h="1117710">
                <a:tc>
                  <a:txBody>
                    <a:bodyPr/>
                    <a:lstStyle/>
                    <a:p>
                      <a:pPr algn="ctr" rtl="0" fontAlgn="t"/>
                      <a:r>
                        <a:rPr lang="cs-CZ" sz="1400" b="1" i="0" u="none" strike="noStrike" dirty="0">
                          <a:solidFill>
                            <a:srgbClr val="000000"/>
                          </a:solidFill>
                          <a:effectLst/>
                          <a:latin typeface="Calibri" panose="020F0502020204030204" pitchFamily="34" charset="0"/>
                        </a:rPr>
                        <a:t>Datum</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2F2F2"/>
                    </a:solidFill>
                  </a:tcPr>
                </a:tc>
                <a:tc>
                  <a:txBody>
                    <a:bodyPr/>
                    <a:lstStyle/>
                    <a:p>
                      <a:pPr algn="ctr" rtl="0" fontAlgn="t"/>
                      <a:r>
                        <a:rPr lang="cs-CZ" sz="1400" b="1" i="0" u="none" strike="noStrike" dirty="0">
                          <a:solidFill>
                            <a:srgbClr val="000000"/>
                          </a:solidFill>
                          <a:effectLst/>
                          <a:latin typeface="Calibri" panose="020F0502020204030204" pitchFamily="34" charset="0"/>
                        </a:rPr>
                        <a:t>NUTS</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2F2F2"/>
                    </a:solidFill>
                  </a:tcPr>
                </a:tc>
                <a:tc>
                  <a:txBody>
                    <a:bodyPr/>
                    <a:lstStyle/>
                    <a:p>
                      <a:pPr algn="ctr" rtl="0" fontAlgn="t"/>
                      <a:r>
                        <a:rPr lang="cs-CZ" sz="1400" b="1" i="0" u="none" strike="noStrike" dirty="0">
                          <a:solidFill>
                            <a:srgbClr val="000000"/>
                          </a:solidFill>
                          <a:effectLst/>
                          <a:latin typeface="Calibri" panose="020F0502020204030204" pitchFamily="34" charset="0"/>
                        </a:rPr>
                        <a:t>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2F2F2"/>
                    </a:solidFill>
                  </a:tcPr>
                </a:tc>
                <a:tc>
                  <a:txBody>
                    <a:bodyPr/>
                    <a:lstStyle/>
                    <a:p>
                      <a:pPr algn="ctr" rtl="0" fontAlgn="t"/>
                      <a:r>
                        <a:rPr lang="pl-PL" sz="1400" b="1" i="0" u="none" strike="noStrike">
                          <a:solidFill>
                            <a:srgbClr val="000000"/>
                          </a:solidFill>
                          <a:effectLst/>
                          <a:latin typeface="Calibri" panose="020F0502020204030204" pitchFamily="34" charset="0"/>
                        </a:rPr>
                        <a:t>Nové případy za předchozích 14 dní</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2CC"/>
                    </a:solidFill>
                  </a:tcPr>
                </a:tc>
                <a:tc>
                  <a:txBody>
                    <a:bodyPr/>
                    <a:lstStyle/>
                    <a:p>
                      <a:pPr algn="ctr" rtl="0" fontAlgn="t"/>
                      <a:r>
                        <a:rPr lang="pl-PL" sz="1400" b="1" i="0" u="none" strike="noStrike">
                          <a:solidFill>
                            <a:srgbClr val="000000"/>
                          </a:solidFill>
                          <a:effectLst/>
                          <a:latin typeface="Calibri" panose="020F0502020204030204" pitchFamily="34" charset="0"/>
                        </a:rPr>
                        <a:t>Nové případy 65+ za předchozích 14 dní</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2CC"/>
                    </a:solidFill>
                  </a:tcPr>
                </a:tc>
                <a:tc>
                  <a:txBody>
                    <a:bodyPr/>
                    <a:lstStyle/>
                    <a:p>
                      <a:pPr algn="ctr" rtl="0" fontAlgn="t"/>
                      <a:r>
                        <a:rPr lang="cs-CZ" sz="1400" b="1" i="0" u="none" strike="noStrike">
                          <a:solidFill>
                            <a:srgbClr val="000000"/>
                          </a:solidFill>
                          <a:effectLst/>
                          <a:latin typeface="Calibri" panose="020F0502020204030204" pitchFamily="34" charset="0"/>
                        </a:rPr>
                        <a:t>Nové případy 65+ v % nových případů za předchozích 14 dní</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2CC"/>
                    </a:solidFill>
                  </a:tcPr>
                </a:tc>
                <a:tc>
                  <a:txBody>
                    <a:bodyPr/>
                    <a:lstStyle/>
                    <a:p>
                      <a:pPr algn="ctr" rtl="0" fontAlgn="t"/>
                      <a:r>
                        <a:rPr lang="pl-PL" sz="1400" b="1" i="0" u="none" strike="noStrike">
                          <a:solidFill>
                            <a:srgbClr val="000000"/>
                          </a:solidFill>
                          <a:effectLst/>
                          <a:latin typeface="Calibri" panose="020F0502020204030204" pitchFamily="34" charset="0"/>
                        </a:rPr>
                        <a:t>Nové případy 75+ za předchozích 14 dní</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2CC"/>
                    </a:solidFill>
                  </a:tcPr>
                </a:tc>
                <a:tc>
                  <a:txBody>
                    <a:bodyPr/>
                    <a:lstStyle/>
                    <a:p>
                      <a:pPr algn="ctr" rtl="0" fontAlgn="t"/>
                      <a:r>
                        <a:rPr lang="cs-CZ" sz="1400" b="1" i="0" u="none" strike="noStrike">
                          <a:solidFill>
                            <a:srgbClr val="000000"/>
                          </a:solidFill>
                          <a:effectLst/>
                          <a:latin typeface="Calibri" panose="020F0502020204030204" pitchFamily="34" charset="0"/>
                        </a:rPr>
                        <a:t>Nové případy 75+ v % nových případů za předchozích 14 dní</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F2CC"/>
                    </a:solidFill>
                  </a:tcPr>
                </a:tc>
                <a:tc>
                  <a:txBody>
                    <a:bodyPr/>
                    <a:lstStyle/>
                    <a:p>
                      <a:pPr algn="ctr" rtl="0" fontAlgn="t"/>
                      <a:r>
                        <a:rPr lang="cs-CZ" sz="1400" b="1" i="0" u="none" strike="noStrike">
                          <a:solidFill>
                            <a:srgbClr val="FFFFFF"/>
                          </a:solidFill>
                          <a:effectLst/>
                          <a:latin typeface="Calibri" panose="020F0502020204030204" pitchFamily="34" charset="0"/>
                        </a:rPr>
                        <a:t>Odhad počtu nově hospitalizovaných z nově pozitivních za posledních 14 dní (do 10 dnů od hodnoceného data, odečteni již hospitalizovaní)</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solidFill>
                      <a:srgbClr val="FF0000"/>
                    </a:solidFill>
                  </a:tcPr>
                </a:tc>
                <a:extLst>
                  <a:ext uri="{0D108BD9-81ED-4DB2-BD59-A6C34878D82A}">
                    <a16:rowId xmlns:a16="http://schemas.microsoft.com/office/drawing/2014/main" val="2798378817"/>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10</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Hlavní město Praha</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5 51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 356</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7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538</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5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625</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714066891"/>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20</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Středočes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9 600</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 528</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7,8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534</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7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76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253825127"/>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3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Jihočes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 545</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3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9,7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8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3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4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3962367484"/>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3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Plzeňs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6 215</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56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9,2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16</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5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56</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568872592"/>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4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Karlovars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 03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7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5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47</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3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641436832"/>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4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Ústec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1 858</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1 127</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9,5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64</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1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495</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3000775129"/>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5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Liberec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7 215</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606</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4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96</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7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90</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660980938"/>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5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Královéhradec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7 606</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698</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9,2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2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9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2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661694916"/>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5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Pardubic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7 778</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76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9,8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65</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4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3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016998602"/>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6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Kraj Vysočina</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 43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0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9,5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0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6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4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413663970"/>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64</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Jihomoravs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5 82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 534</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9,7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567</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6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65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002506503"/>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7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Olomouc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 61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96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1,2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66</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4,2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86</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2353644460"/>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7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Zlíns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8 71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96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11,1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405</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4,6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80</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4003777400"/>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80</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Moravskoslezský kraj</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6 788</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 956</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11,7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71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4,2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774</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1335828189"/>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88</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N/A</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0</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0</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0,0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0</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0,0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3804135829"/>
                  </a:ext>
                </a:extLst>
              </a:tr>
              <a:tr h="186285">
                <a:tc>
                  <a:txBody>
                    <a:bodyPr/>
                    <a:lstStyle/>
                    <a:p>
                      <a:pPr algn="l" rtl="0" fontAlgn="t"/>
                      <a:r>
                        <a:rPr lang="cs-CZ" sz="1400" b="0" i="0" u="none" strike="noStrike">
                          <a:solidFill>
                            <a:srgbClr val="000000"/>
                          </a:solidFill>
                          <a:effectLst/>
                          <a:latin typeface="Calibri" panose="020F0502020204030204" pitchFamily="34" charset="0"/>
                        </a:rPr>
                        <a:t>21.12.2021</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CZ09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N/A</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6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3</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4,8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a:solidFill>
                            <a:srgbClr val="000000"/>
                          </a:solidFill>
                          <a:effectLst/>
                          <a:latin typeface="Calibri" panose="020F0502020204030204" pitchFamily="34" charset="0"/>
                        </a:rPr>
                        <a:t>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3,2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0" i="0" u="none" strike="noStrike" dirty="0">
                          <a:solidFill>
                            <a:srgbClr val="000000"/>
                          </a:solidFill>
                          <a:effectLst/>
                          <a:latin typeface="Calibri" panose="020F0502020204030204" pitchFamily="34" charset="0"/>
                        </a:rPr>
                        <a:t>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331954664"/>
                  </a:ext>
                </a:extLst>
              </a:tr>
              <a:tr h="260799">
                <a:tc>
                  <a:txBody>
                    <a:bodyPr/>
                    <a:lstStyle/>
                    <a:p>
                      <a:pPr algn="l" rtl="0" fontAlgn="t"/>
                      <a:r>
                        <a:rPr lang="cs-CZ" sz="1400" b="0" i="0" u="none" strike="noStrike">
                          <a:solidFill>
                            <a:srgbClr val="000000"/>
                          </a:solidFill>
                          <a:effectLst/>
                          <a:latin typeface="Calibri" panose="020F0502020204030204" pitchFamily="34" charset="0"/>
                        </a:rPr>
                        <a:t>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0" i="0" u="none" strike="noStrike">
                          <a:solidFill>
                            <a:srgbClr val="000000"/>
                          </a:solidFill>
                          <a:effectLst/>
                          <a:latin typeface="Calibri" panose="020F0502020204030204" pitchFamily="34" charset="0"/>
                        </a:rPr>
                        <a:t>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l" rtl="0" fontAlgn="t"/>
                      <a:r>
                        <a:rPr lang="cs-CZ" sz="1400" b="1" i="0" u="none" strike="noStrike">
                          <a:solidFill>
                            <a:srgbClr val="000000"/>
                          </a:solidFill>
                          <a:effectLst/>
                          <a:latin typeface="Calibri" panose="020F0502020204030204" pitchFamily="34" charset="0"/>
                        </a:rPr>
                        <a:t>Celkem</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1" i="0" u="none" strike="noStrike">
                          <a:solidFill>
                            <a:srgbClr val="000000"/>
                          </a:solidFill>
                          <a:effectLst/>
                          <a:latin typeface="Calibri" panose="020F0502020204030204" pitchFamily="34" charset="0"/>
                        </a:rPr>
                        <a:t>144 798</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1" i="0" u="none" strike="noStrike">
                          <a:solidFill>
                            <a:srgbClr val="000000"/>
                          </a:solidFill>
                          <a:effectLst/>
                          <a:latin typeface="Calibri" panose="020F0502020204030204" pitchFamily="34" charset="0"/>
                        </a:rPr>
                        <a:t>13 87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1" i="0" u="none" strike="noStrike">
                          <a:solidFill>
                            <a:srgbClr val="000000"/>
                          </a:solidFill>
                          <a:effectLst/>
                          <a:latin typeface="Calibri" panose="020F0502020204030204" pitchFamily="34" charset="0"/>
                        </a:rPr>
                        <a:t>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1" i="0" u="none" strike="noStrike">
                          <a:solidFill>
                            <a:srgbClr val="000000"/>
                          </a:solidFill>
                          <a:effectLst/>
                          <a:latin typeface="Calibri" panose="020F0502020204030204" pitchFamily="34" charset="0"/>
                        </a:rPr>
                        <a:t>5 019</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1400" b="1" i="0" u="none" strike="noStrike">
                          <a:solidFill>
                            <a:srgbClr val="000000"/>
                          </a:solidFill>
                          <a:effectLst/>
                          <a:latin typeface="Calibri" panose="020F0502020204030204" pitchFamily="34" charset="0"/>
                        </a:rPr>
                        <a:t> </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tc>
                  <a:txBody>
                    <a:bodyPr/>
                    <a:lstStyle/>
                    <a:p>
                      <a:pPr algn="ctr" rtl="0" fontAlgn="t"/>
                      <a:r>
                        <a:rPr lang="cs-CZ" sz="2200" b="1" i="0" u="none" strike="noStrike" dirty="0">
                          <a:solidFill>
                            <a:srgbClr val="FF0000"/>
                          </a:solidFill>
                          <a:effectLst/>
                          <a:latin typeface="Calibri" panose="020F0502020204030204" pitchFamily="34" charset="0"/>
                        </a:rPr>
                        <a:t>6 072</a:t>
                      </a:r>
                    </a:p>
                  </a:txBody>
                  <a:tcPr marL="8783" marR="8783" marT="8783"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tcPr>
                </a:tc>
                <a:extLst>
                  <a:ext uri="{0D108BD9-81ED-4DB2-BD59-A6C34878D82A}">
                    <a16:rowId xmlns:a16="http://schemas.microsoft.com/office/drawing/2014/main" val="3742264000"/>
                  </a:ext>
                </a:extLst>
              </a:tr>
            </a:tbl>
          </a:graphicData>
        </a:graphic>
      </p:graphicFrame>
      <p:sp>
        <p:nvSpPr>
          <p:cNvPr id="5" name="TextovéPole 4">
            <a:extLst>
              <a:ext uri="{FF2B5EF4-FFF2-40B4-BE49-F238E27FC236}">
                <a16:creationId xmlns:a16="http://schemas.microsoft.com/office/drawing/2014/main" id="{C0A44179-CA6B-42E1-901F-52C172F1EDCF}"/>
              </a:ext>
            </a:extLst>
          </p:cNvPr>
          <p:cNvSpPr txBox="1"/>
          <p:nvPr>
            <p:custDataLst>
              <p:tags r:id="rId3"/>
            </p:custDataLst>
          </p:nvPr>
        </p:nvSpPr>
        <p:spPr>
          <a:xfrm>
            <a:off x="526785" y="6165175"/>
            <a:ext cx="11138430" cy="646331"/>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highlight>
                  <a:srgbClr val="FF0000"/>
                </a:highlight>
                <a:uLnTx/>
                <a:uFillTx/>
                <a:latin typeface="Calibri" panose="020F0502020204030204"/>
                <a:ea typeface="+mn-ea"/>
                <a:cs typeface="+mn-cs"/>
              </a:rPr>
              <a:t>ČR: V následujících cca 10 – 14 dnech je stále nutné očekávat až &gt; 300 nových příjmů do nemocnic denně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highlight>
                  <a:srgbClr val="FF0000"/>
                </a:highlight>
                <a:uLnTx/>
                <a:uFillTx/>
                <a:latin typeface="Calibri" panose="020F0502020204030204"/>
                <a:ea typeface="+mn-ea"/>
                <a:cs typeface="+mn-cs"/>
              </a:rPr>
              <a:t>(aktuální průměr v pracovních dnech je </a:t>
            </a:r>
            <a:r>
              <a:rPr lang="cs-CZ" b="1" dirty="0">
                <a:solidFill>
                  <a:prstClr val="white"/>
                </a:solidFill>
                <a:highlight>
                  <a:srgbClr val="FF0000"/>
                </a:highlight>
                <a:latin typeface="Calibri" panose="020F0502020204030204"/>
              </a:rPr>
              <a:t>300 – </a:t>
            </a:r>
            <a:r>
              <a:rPr kumimoji="0" lang="cs-CZ" sz="1800" b="1" i="0" u="none" strike="noStrike" kern="1200" cap="none" spc="0" normalizeH="0" baseline="0" noProof="0" dirty="0">
                <a:ln>
                  <a:noFill/>
                </a:ln>
                <a:solidFill>
                  <a:prstClr val="white"/>
                </a:solidFill>
                <a:effectLst/>
                <a:highlight>
                  <a:srgbClr val="FF0000"/>
                </a:highlight>
                <a:uLnTx/>
                <a:uFillTx/>
                <a:latin typeface="Calibri" panose="020F0502020204030204"/>
                <a:ea typeface="+mn-ea"/>
                <a:cs typeface="+mn-cs"/>
              </a:rPr>
              <a:t>400). V těžkém stavu bude denně přijímáno až 60 - 7</a:t>
            </a:r>
            <a:r>
              <a:rPr lang="cs-CZ" b="1" dirty="0">
                <a:solidFill>
                  <a:prstClr val="white"/>
                </a:solidFill>
                <a:highlight>
                  <a:srgbClr val="FF0000"/>
                </a:highlight>
                <a:latin typeface="Calibri" panose="020F0502020204030204"/>
              </a:rPr>
              <a:t>0</a:t>
            </a:r>
            <a:r>
              <a:rPr kumimoji="0" lang="cs-CZ" sz="1800" b="1" i="0" u="none" strike="noStrike" kern="1200" cap="none" spc="0" normalizeH="0" baseline="0" noProof="0" dirty="0">
                <a:ln>
                  <a:noFill/>
                </a:ln>
                <a:solidFill>
                  <a:prstClr val="white"/>
                </a:solidFill>
                <a:effectLst/>
                <a:highlight>
                  <a:srgbClr val="FF0000"/>
                </a:highlight>
                <a:uLnTx/>
                <a:uFillTx/>
                <a:latin typeface="Calibri" panose="020F0502020204030204"/>
                <a:ea typeface="+mn-ea"/>
                <a:cs typeface="+mn-cs"/>
              </a:rPr>
              <a:t> pacientů. </a:t>
            </a:r>
            <a:endParaRPr kumimoji="0" lang="en-US" sz="1800" b="1" i="0" u="none" strike="noStrike" kern="1200" cap="none" spc="0" normalizeH="0" baseline="0" noProof="0" dirty="0">
              <a:ln>
                <a:noFill/>
              </a:ln>
              <a:solidFill>
                <a:prstClr val="white"/>
              </a:solidFill>
              <a:effectLst/>
              <a:highlight>
                <a:srgbClr val="FF0000"/>
              </a:highlight>
              <a:uLnTx/>
              <a:uFillTx/>
              <a:latin typeface="Calibri" panose="020F0502020204030204"/>
              <a:ea typeface="+mn-ea"/>
              <a:cs typeface="+mn-cs"/>
            </a:endParaRPr>
          </a:p>
        </p:txBody>
      </p:sp>
    </p:spTree>
    <p:extLst>
      <p:ext uri="{BB962C8B-B14F-4D97-AF65-F5344CB8AC3E}">
        <p14:creationId xmlns:p14="http://schemas.microsoft.com/office/powerpoint/2010/main" val="32959716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33">
            <a:extLst>
              <a:ext uri="{FF2B5EF4-FFF2-40B4-BE49-F238E27FC236}">
                <a16:creationId xmlns:a16="http://schemas.microsoft.com/office/drawing/2014/main" id="{4C5A20A0-A260-40EF-BD1E-C982250FE1FD}"/>
              </a:ext>
            </a:extLst>
          </p:cNvPr>
          <p:cNvGraphicFramePr>
            <a:graphicFrameLocks noGrp="1"/>
          </p:cNvGraphicFramePr>
          <p:nvPr>
            <p:custDataLst>
              <p:tags r:id="rId1"/>
            </p:custDataLst>
            <p:extLst>
              <p:ext uri="{D42A27DB-BD31-4B8C-83A1-F6EECF244321}">
                <p14:modId xmlns:p14="http://schemas.microsoft.com/office/powerpoint/2010/main" val="185490140"/>
              </p:ext>
            </p:extLst>
          </p:nvPr>
        </p:nvGraphicFramePr>
        <p:xfrm>
          <a:off x="838200" y="3170332"/>
          <a:ext cx="9064944" cy="3512820"/>
        </p:xfrm>
        <a:graphic>
          <a:graphicData uri="http://schemas.openxmlformats.org/drawingml/2006/table">
            <a:tbl>
              <a:tblPr/>
              <a:tblGrid>
                <a:gridCol w="7173873">
                  <a:extLst>
                    <a:ext uri="{9D8B030D-6E8A-4147-A177-3AD203B41FA5}">
                      <a16:colId xmlns:a16="http://schemas.microsoft.com/office/drawing/2014/main" val="1918387992"/>
                    </a:ext>
                  </a:extLst>
                </a:gridCol>
                <a:gridCol w="1891071">
                  <a:extLst>
                    <a:ext uri="{9D8B030D-6E8A-4147-A177-3AD203B41FA5}">
                      <a16:colId xmlns:a16="http://schemas.microsoft.com/office/drawing/2014/main" val="1639439843"/>
                    </a:ext>
                  </a:extLst>
                </a:gridCol>
              </a:tblGrid>
              <a:tr h="798192">
                <a:tc>
                  <a:txBody>
                    <a:bodyPr/>
                    <a:lstStyle/>
                    <a:p>
                      <a:pPr algn="l" fontAlgn="b"/>
                      <a:r>
                        <a:rPr lang="cs-CZ" sz="5700" b="0" i="0" u="none" strike="noStrike" baseline="0" dirty="0">
                          <a:solidFill>
                            <a:srgbClr val="000000"/>
                          </a:solidFill>
                          <a:effectLst/>
                          <a:latin typeface="Calibri" panose="020F0502020204030204" pitchFamily="34" charset="0"/>
                        </a:rPr>
                        <a:t>Celkem v nemocnici:</a:t>
                      </a:r>
                    </a:p>
                  </a:txBody>
                  <a:tcPr marL="7620" marR="7620" marT="7620" marB="0" anchor="b">
                    <a:lnL>
                      <a:noFill/>
                    </a:lnL>
                    <a:lnR>
                      <a:noFill/>
                    </a:lnR>
                    <a:lnT>
                      <a:noFill/>
                    </a:lnT>
                    <a:lnB>
                      <a:noFill/>
                    </a:lnB>
                  </a:tcPr>
                </a:tc>
                <a:tc>
                  <a:txBody>
                    <a:bodyPr/>
                    <a:lstStyle/>
                    <a:p>
                      <a:pPr algn="r" fontAlgn="b"/>
                      <a:r>
                        <a:rPr lang="cs-CZ" sz="5700" b="0" i="0" u="none" strike="noStrike" kern="1200" baseline="0" dirty="0">
                          <a:solidFill>
                            <a:srgbClr val="000000"/>
                          </a:solidFill>
                          <a:effectLst/>
                          <a:latin typeface="Calibri" panose="020F0502020204030204" pitchFamily="34" charset="0"/>
                          <a:ea typeface="+mn-ea"/>
                          <a:cs typeface="+mn-cs"/>
                        </a:rPr>
                        <a:t>3 505</a:t>
                      </a:r>
                    </a:p>
                  </a:txBody>
                  <a:tcPr marL="9525" marR="9525" marT="9525" marB="0" anchor="b">
                    <a:lnL>
                      <a:noFill/>
                    </a:lnL>
                    <a:lnR>
                      <a:noFill/>
                    </a:lnR>
                    <a:lnT>
                      <a:noFill/>
                    </a:lnT>
                    <a:lnB>
                      <a:noFill/>
                    </a:lnB>
                  </a:tcPr>
                </a:tc>
                <a:extLst>
                  <a:ext uri="{0D108BD9-81ED-4DB2-BD59-A6C34878D82A}">
                    <a16:rowId xmlns:a16="http://schemas.microsoft.com/office/drawing/2014/main" val="1079789772"/>
                  </a:ext>
                </a:extLst>
              </a:tr>
              <a:tr h="798192">
                <a:tc>
                  <a:txBody>
                    <a:bodyPr/>
                    <a:lstStyle/>
                    <a:p>
                      <a:pPr algn="l" fontAlgn="b"/>
                      <a:r>
                        <a:rPr lang="cs-CZ" sz="5700" b="0" i="0" u="none" strike="noStrike" baseline="0">
                          <a:solidFill>
                            <a:srgbClr val="000000"/>
                          </a:solidFill>
                          <a:effectLst/>
                          <a:latin typeface="Calibri" panose="020F0502020204030204" pitchFamily="34" charset="0"/>
                        </a:rPr>
                        <a:t>Z toho JIP:</a:t>
                      </a:r>
                      <a:endParaRPr lang="cs-CZ" sz="5700" b="0" i="0" u="none" strike="noStrike" baseline="0"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r" fontAlgn="b"/>
                      <a:r>
                        <a:rPr lang="cs-CZ" sz="5700" b="0" i="0" u="none" strike="noStrike" kern="1200" baseline="0" dirty="0">
                          <a:solidFill>
                            <a:srgbClr val="000000"/>
                          </a:solidFill>
                          <a:effectLst/>
                          <a:latin typeface="Calibri" panose="020F0502020204030204" pitchFamily="34" charset="0"/>
                          <a:ea typeface="+mn-ea"/>
                          <a:cs typeface="+mn-cs"/>
                        </a:rPr>
                        <a:t>704</a:t>
                      </a:r>
                    </a:p>
                  </a:txBody>
                  <a:tcPr marL="9525" marR="9525" marT="9525" marB="0" anchor="b">
                    <a:lnL>
                      <a:noFill/>
                    </a:lnL>
                    <a:lnR>
                      <a:noFill/>
                    </a:lnR>
                    <a:lnT>
                      <a:noFill/>
                    </a:lnT>
                    <a:lnB>
                      <a:noFill/>
                    </a:lnB>
                  </a:tcPr>
                </a:tc>
                <a:extLst>
                  <a:ext uri="{0D108BD9-81ED-4DB2-BD59-A6C34878D82A}">
                    <a16:rowId xmlns:a16="http://schemas.microsoft.com/office/drawing/2014/main" val="2541122535"/>
                  </a:ext>
                </a:extLst>
              </a:tr>
              <a:tr h="798192">
                <a:tc>
                  <a:txBody>
                    <a:bodyPr/>
                    <a:lstStyle/>
                    <a:p>
                      <a:pPr algn="l" fontAlgn="b"/>
                      <a:r>
                        <a:rPr lang="cs-CZ" sz="5700" b="0" i="0" u="none" strike="noStrike" baseline="0" dirty="0">
                          <a:solidFill>
                            <a:srgbClr val="000000"/>
                          </a:solidFill>
                          <a:effectLst/>
                          <a:latin typeface="Calibri" panose="020F0502020204030204" pitchFamily="34" charset="0"/>
                        </a:rPr>
                        <a:t>Z toho UPV:</a:t>
                      </a:r>
                    </a:p>
                  </a:txBody>
                  <a:tcPr marL="7620" marR="7620" marT="7620" marB="0" anchor="b">
                    <a:lnL>
                      <a:noFill/>
                    </a:lnL>
                    <a:lnR>
                      <a:noFill/>
                    </a:lnR>
                    <a:lnT>
                      <a:noFill/>
                    </a:lnT>
                    <a:lnB>
                      <a:noFill/>
                    </a:lnB>
                  </a:tcPr>
                </a:tc>
                <a:tc>
                  <a:txBody>
                    <a:bodyPr/>
                    <a:lstStyle/>
                    <a:p>
                      <a:pPr algn="r" fontAlgn="b"/>
                      <a:r>
                        <a:rPr lang="cs-CZ" sz="5700" b="0" i="0" u="none" strike="noStrike" kern="1200" baseline="0" dirty="0">
                          <a:solidFill>
                            <a:srgbClr val="000000"/>
                          </a:solidFill>
                          <a:effectLst/>
                          <a:latin typeface="Calibri" panose="020F0502020204030204" pitchFamily="34" charset="0"/>
                          <a:ea typeface="+mn-ea"/>
                          <a:cs typeface="+mn-cs"/>
                        </a:rPr>
                        <a:t>358</a:t>
                      </a:r>
                    </a:p>
                  </a:txBody>
                  <a:tcPr marL="9525" marR="9525" marT="9525" marB="0" anchor="b">
                    <a:lnL>
                      <a:noFill/>
                    </a:lnL>
                    <a:lnR>
                      <a:noFill/>
                    </a:lnR>
                    <a:lnT>
                      <a:noFill/>
                    </a:lnT>
                    <a:lnB>
                      <a:noFill/>
                    </a:lnB>
                  </a:tcPr>
                </a:tc>
                <a:extLst>
                  <a:ext uri="{0D108BD9-81ED-4DB2-BD59-A6C34878D82A}">
                    <a16:rowId xmlns:a16="http://schemas.microsoft.com/office/drawing/2014/main" val="532193534"/>
                  </a:ext>
                </a:extLst>
              </a:tr>
              <a:tr h="798192">
                <a:tc>
                  <a:txBody>
                    <a:bodyPr/>
                    <a:lstStyle/>
                    <a:p>
                      <a:pPr algn="l" fontAlgn="b"/>
                      <a:r>
                        <a:rPr lang="cs-CZ" sz="5700" b="0" i="0" u="none" strike="noStrike" baseline="0">
                          <a:solidFill>
                            <a:srgbClr val="000000"/>
                          </a:solidFill>
                          <a:effectLst/>
                          <a:latin typeface="Calibri" panose="020F0502020204030204" pitchFamily="34" charset="0"/>
                        </a:rPr>
                        <a:t>Z toho ECMO:</a:t>
                      </a:r>
                      <a:endParaRPr lang="cs-CZ" sz="5700" b="0" i="0" u="none" strike="noStrike" baseline="0"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r" fontAlgn="b"/>
                      <a:r>
                        <a:rPr lang="cs-CZ" sz="5700" b="0" i="0" u="none" strike="noStrike" kern="1200" baseline="0" dirty="0">
                          <a:solidFill>
                            <a:srgbClr val="000000"/>
                          </a:solidFill>
                          <a:effectLst/>
                          <a:latin typeface="Calibri" panose="020F0502020204030204" pitchFamily="34" charset="0"/>
                          <a:ea typeface="+mn-ea"/>
                          <a:cs typeface="+mn-cs"/>
                        </a:rPr>
                        <a:t>13</a:t>
                      </a:r>
                    </a:p>
                  </a:txBody>
                  <a:tcPr marL="9525" marR="9525" marT="9525" marB="0" anchor="b">
                    <a:lnL>
                      <a:noFill/>
                    </a:lnL>
                    <a:lnR>
                      <a:noFill/>
                    </a:lnR>
                    <a:lnT>
                      <a:noFill/>
                    </a:lnT>
                    <a:lnB>
                      <a:noFill/>
                    </a:lnB>
                  </a:tcPr>
                </a:tc>
                <a:extLst>
                  <a:ext uri="{0D108BD9-81ED-4DB2-BD59-A6C34878D82A}">
                    <a16:rowId xmlns:a16="http://schemas.microsoft.com/office/drawing/2014/main" val="2192537972"/>
                  </a:ext>
                </a:extLst>
              </a:tr>
            </a:tbl>
          </a:graphicData>
        </a:graphic>
      </p:graphicFrame>
      <p:sp>
        <p:nvSpPr>
          <p:cNvPr id="35" name="Šipka dolů 1">
            <a:extLst>
              <a:ext uri="{FF2B5EF4-FFF2-40B4-BE49-F238E27FC236}">
                <a16:creationId xmlns:a16="http://schemas.microsoft.com/office/drawing/2014/main" id="{273E8147-1472-4BD2-B50D-7B3FC07C0A00}"/>
              </a:ext>
            </a:extLst>
          </p:cNvPr>
          <p:cNvSpPr/>
          <p:nvPr>
            <p:custDataLst>
              <p:tags r:id="rId2"/>
            </p:custDataLst>
          </p:nvPr>
        </p:nvSpPr>
        <p:spPr>
          <a:xfrm>
            <a:off x="5144651" y="1892081"/>
            <a:ext cx="1588655" cy="785091"/>
          </a:xfrm>
          <a:prstGeom prst="downArrow">
            <a:avLst/>
          </a:prstGeom>
          <a:solidFill>
            <a:srgbClr val="3059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AFABE329-CC08-4062-8E80-53173DE0C38F}"/>
              </a:ext>
            </a:extLst>
          </p:cNvPr>
          <p:cNvSpPr txBox="1"/>
          <p:nvPr>
            <p:custDataLst>
              <p:tags r:id="rId3"/>
            </p:custDataLst>
          </p:nvPr>
        </p:nvSpPr>
        <p:spPr>
          <a:xfrm>
            <a:off x="0" y="445172"/>
            <a:ext cx="1187767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Z" sz="3600" b="1" i="0" u="none" strike="noStrike" kern="1200" cap="none" spc="0" normalizeH="0" baseline="0" noProof="0" dirty="0">
                <a:ln>
                  <a:noFill/>
                </a:ln>
                <a:solidFill>
                  <a:prstClr val="black"/>
                </a:solidFill>
                <a:effectLst/>
                <a:uLnTx/>
                <a:uFillTx/>
                <a:latin typeface="Calibri" panose="020F0502020204030204"/>
                <a:ea typeface="+mn-ea"/>
                <a:cs typeface="+mn-cs"/>
              </a:rPr>
              <a:t>Aktuální </a:t>
            </a:r>
            <a:r>
              <a:rPr kumimoji="0" lang="cs-CZ" sz="3600" b="1" i="0" u="none" strike="noStrike" kern="1200" cap="none" spc="0" normalizeH="0" baseline="0" noProof="0" dirty="0">
                <a:ln>
                  <a:noFill/>
                </a:ln>
                <a:solidFill>
                  <a:prstClr val="black"/>
                </a:solidFill>
                <a:effectLst/>
                <a:uLnTx/>
                <a:uFillTx/>
                <a:latin typeface="Calibri" panose="020F0502020204030204"/>
                <a:ea typeface="+mn-ea"/>
                <a:cs typeface="+mn-cs"/>
              </a:rPr>
              <a:t>počty </a:t>
            </a:r>
            <a:r>
              <a:rPr kumimoji="0" lang="en-CZ" sz="3600" b="1" i="0" u="none" strike="noStrike" kern="1200" cap="none" spc="0" normalizeH="0" baseline="0" noProof="0" dirty="0">
                <a:ln>
                  <a:noFill/>
                </a:ln>
                <a:solidFill>
                  <a:prstClr val="black"/>
                </a:solidFill>
                <a:effectLst/>
                <a:uLnTx/>
                <a:uFillTx/>
                <a:latin typeface="Calibri" panose="020F0502020204030204"/>
                <a:ea typeface="+mn-ea"/>
                <a:cs typeface="+mn-cs"/>
              </a:rPr>
              <a:t>hospitalizovaných</a:t>
            </a:r>
            <a:r>
              <a:rPr kumimoji="0" lang="cs-CZ" sz="3600" b="1" i="0" u="none" strike="noStrike" kern="1200" cap="none" spc="0" normalizeH="0" baseline="0" noProof="0" dirty="0">
                <a:ln>
                  <a:noFill/>
                </a:ln>
                <a:solidFill>
                  <a:prstClr val="black"/>
                </a:solidFill>
                <a:effectLst/>
                <a:uLnTx/>
                <a:uFillTx/>
                <a:latin typeface="Calibri" panose="020F0502020204030204"/>
                <a:ea typeface="+mn-ea"/>
                <a:cs typeface="+mn-cs"/>
              </a:rPr>
              <a:t> pacientů, včetně JIP jsou stále vysoké. </a:t>
            </a:r>
            <a:r>
              <a:rPr kumimoji="0" lang="cs-CZ" sz="3600" b="1" i="0" u="none" strike="noStrike" kern="1200" cap="none" spc="0" normalizeH="0" baseline="0" noProof="0" dirty="0">
                <a:ln>
                  <a:noFill/>
                </a:ln>
                <a:solidFill>
                  <a:srgbClr val="FF0000"/>
                </a:solidFill>
                <a:effectLst/>
                <a:uLnTx/>
                <a:uFillTx/>
                <a:latin typeface="Calibri" panose="020F0502020204030204"/>
                <a:ea typeface="+mn-ea"/>
                <a:cs typeface="+mn-cs"/>
              </a:rPr>
              <a:t>Denní příjmy jsou na úrovni 300 pacientů.</a:t>
            </a:r>
            <a:endParaRPr kumimoji="0" lang="cs-CZ"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2" name="Tabulka 4">
            <a:extLst>
              <a:ext uri="{FF2B5EF4-FFF2-40B4-BE49-F238E27FC236}">
                <a16:creationId xmlns:a16="http://schemas.microsoft.com/office/drawing/2014/main" id="{26779AC8-5DFA-4636-8E54-5D5708628E65}"/>
              </a:ext>
            </a:extLst>
          </p:cNvPr>
          <p:cNvGraphicFramePr>
            <a:graphicFrameLocks noGrp="1"/>
          </p:cNvGraphicFramePr>
          <p:nvPr>
            <p:custDataLst>
              <p:tags r:id="rId4"/>
            </p:custDataLst>
            <p:extLst>
              <p:ext uri="{D42A27DB-BD31-4B8C-83A1-F6EECF244321}">
                <p14:modId xmlns:p14="http://schemas.microsoft.com/office/powerpoint/2010/main" val="2155829315"/>
              </p:ext>
            </p:extLst>
          </p:nvPr>
        </p:nvGraphicFramePr>
        <p:xfrm>
          <a:off x="7747864" y="2713132"/>
          <a:ext cx="3077308" cy="457200"/>
        </p:xfrm>
        <a:graphic>
          <a:graphicData uri="http://schemas.openxmlformats.org/drawingml/2006/table">
            <a:tbl>
              <a:tblPr firstRow="1" bandRow="1">
                <a:tableStyleId>{5C22544A-7EE6-4342-B048-85BDC9FD1C3A}</a:tableStyleId>
              </a:tblPr>
              <a:tblGrid>
                <a:gridCol w="1318846">
                  <a:extLst>
                    <a:ext uri="{9D8B030D-6E8A-4147-A177-3AD203B41FA5}">
                      <a16:colId xmlns:a16="http://schemas.microsoft.com/office/drawing/2014/main" val="3701563452"/>
                    </a:ext>
                  </a:extLst>
                </a:gridCol>
                <a:gridCol w="1758462">
                  <a:extLst>
                    <a:ext uri="{9D8B030D-6E8A-4147-A177-3AD203B41FA5}">
                      <a16:colId xmlns:a16="http://schemas.microsoft.com/office/drawing/2014/main" val="2121585558"/>
                    </a:ext>
                  </a:extLst>
                </a:gridCol>
              </a:tblGrid>
              <a:tr h="370840">
                <a:tc>
                  <a:txBody>
                    <a:bodyPr/>
                    <a:lstStyle/>
                    <a:p>
                      <a:pPr algn="r"/>
                      <a:r>
                        <a:rPr lang="cs-CZ" sz="2400"/>
                        <a:t>Stav k</a:t>
                      </a:r>
                      <a:endParaRPr lang="cs-CZ" sz="24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05983"/>
                    </a:solidFill>
                  </a:tcPr>
                </a:tc>
                <a:tc>
                  <a:txBody>
                    <a:bodyPr/>
                    <a:lstStyle/>
                    <a:p>
                      <a:pPr algn="l" fontAlgn="b"/>
                      <a:r>
                        <a:rPr lang="cs-CZ" sz="2400" b="1" i="0" u="none" strike="noStrike" dirty="0">
                          <a:solidFill>
                            <a:schemeClr val="bg1"/>
                          </a:solidFill>
                          <a:effectLst/>
                          <a:latin typeface="+mn-lt"/>
                        </a:rPr>
                        <a:t>28. 12. 202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05983"/>
                    </a:solidFill>
                  </a:tcPr>
                </a:tc>
                <a:extLst>
                  <a:ext uri="{0D108BD9-81ED-4DB2-BD59-A6C34878D82A}">
                    <a16:rowId xmlns:a16="http://schemas.microsoft.com/office/drawing/2014/main" val="4044326571"/>
                  </a:ext>
                </a:extLst>
              </a:tr>
            </a:tbl>
          </a:graphicData>
        </a:graphic>
      </p:graphicFrame>
    </p:spTree>
    <p:extLst>
      <p:ext uri="{BB962C8B-B14F-4D97-AF65-F5344CB8AC3E}">
        <p14:creationId xmlns:p14="http://schemas.microsoft.com/office/powerpoint/2010/main" val="27084206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440022" cy="576000"/>
          </a:xfrm>
        </p:spPr>
        <p:txBody>
          <a:bodyPr/>
          <a:lstStyle/>
          <a:p>
            <a:r>
              <a:rPr lang="cs-CZ" sz="1800" dirty="0"/>
              <a:t>Predikce celkového počtu hospitalizací – aktuální počet léčených </a:t>
            </a:r>
            <a:endParaRPr lang="cs-CZ" sz="1800" dirty="0">
              <a:solidFill>
                <a:srgbClr val="00FF00"/>
              </a:solidFill>
            </a:endParaRPr>
          </a:p>
        </p:txBody>
      </p:sp>
      <p:sp>
        <p:nvSpPr>
          <p:cNvPr id="23" name="TextovéPole 22">
            <a:extLst>
              <a:ext uri="{FF2B5EF4-FFF2-40B4-BE49-F238E27FC236}">
                <a16:creationId xmlns:a16="http://schemas.microsoft.com/office/drawing/2014/main" id="{7254C57B-23A2-45E4-9157-3C0592F87311}"/>
              </a:ext>
            </a:extLst>
          </p:cNvPr>
          <p:cNvSpPr txBox="1"/>
          <p:nvPr>
            <p:custDataLst>
              <p:tags r:id="rId2"/>
            </p:custDataLst>
          </p:nvPr>
        </p:nvSpPr>
        <p:spPr>
          <a:xfrm>
            <a:off x="154578" y="658863"/>
            <a:ext cx="26682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prstClr val="black"/>
                </a:solidFill>
                <a:effectLst/>
                <a:uLnTx/>
                <a:uFillTx/>
                <a:latin typeface="Arial" panose="020B0604020202020204"/>
                <a:ea typeface="+mn-ea"/>
                <a:cs typeface="+mn-cs"/>
              </a:rPr>
              <a:t>Česká republika</a:t>
            </a:r>
          </a:p>
        </p:txBody>
      </p:sp>
      <p:sp>
        <p:nvSpPr>
          <p:cNvPr id="25" name="TextBox 31">
            <a:extLst>
              <a:ext uri="{FF2B5EF4-FFF2-40B4-BE49-F238E27FC236}">
                <a16:creationId xmlns:a16="http://schemas.microsoft.com/office/drawing/2014/main" id="{2B7B016C-730A-4D13-8F30-5D1F0893DC67}"/>
              </a:ext>
            </a:extLst>
          </p:cNvPr>
          <p:cNvSpPr txBox="1"/>
          <p:nvPr>
            <p:custDataLst>
              <p:tags r:id="rId3"/>
            </p:custDataLst>
          </p:nvPr>
        </p:nvSpPr>
        <p:spPr>
          <a:xfrm>
            <a:off x="128000" y="6137611"/>
            <a:ext cx="7120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Datum</a:t>
            </a:r>
          </a:p>
        </p:txBody>
      </p:sp>
      <p:grpSp>
        <p:nvGrpSpPr>
          <p:cNvPr id="34" name="Skupina 33">
            <a:extLst>
              <a:ext uri="{FF2B5EF4-FFF2-40B4-BE49-F238E27FC236}">
                <a16:creationId xmlns:a16="http://schemas.microsoft.com/office/drawing/2014/main" id="{A5D207FE-E9F1-45F3-900D-8666E5F661F4}"/>
              </a:ext>
            </a:extLst>
          </p:cNvPr>
          <p:cNvGrpSpPr/>
          <p:nvPr>
            <p:custDataLst>
              <p:tags r:id="rId4"/>
            </p:custDataLst>
          </p:nvPr>
        </p:nvGrpSpPr>
        <p:grpSpPr>
          <a:xfrm>
            <a:off x="7472080" y="1057588"/>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sp>
        <p:nvSpPr>
          <p:cNvPr id="3" name="Obdélník 2">
            <a:extLst>
              <a:ext uri="{FF2B5EF4-FFF2-40B4-BE49-F238E27FC236}">
                <a16:creationId xmlns:a16="http://schemas.microsoft.com/office/drawing/2014/main" id="{239746E9-FF79-425B-B52E-C36853FB28DB}"/>
              </a:ext>
            </a:extLst>
          </p:cNvPr>
          <p:cNvSpPr/>
          <p:nvPr>
            <p:custDataLst>
              <p:tags r:id="rId5"/>
            </p:custDataLst>
          </p:nvPr>
        </p:nvSpPr>
        <p:spPr>
          <a:xfrm>
            <a:off x="7478982" y="1060251"/>
            <a:ext cx="3956538" cy="738664"/>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Predikce počtu hospitalizovaných pacientů na základě modelů při parametrech nemoci z období 10/2021–11/2021 pro různé scénáře</a:t>
            </a:r>
            <a:endParaRPr kumimoji="0" lang="cs-CZ"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0" name="TextBox 14">
            <a:extLst>
              <a:ext uri="{FF2B5EF4-FFF2-40B4-BE49-F238E27FC236}">
                <a16:creationId xmlns:a16="http://schemas.microsoft.com/office/drawing/2014/main" id="{9FE21065-745F-4CF7-BEC5-D790548DCE66}"/>
              </a:ext>
            </a:extLst>
          </p:cNvPr>
          <p:cNvSpPr txBox="1"/>
          <p:nvPr>
            <p:custDataLst>
              <p:tags r:id="rId6"/>
            </p:custDataLst>
          </p:nvPr>
        </p:nvSpPr>
        <p:spPr>
          <a:xfrm rot="16200000">
            <a:off x="-1294223" y="3762664"/>
            <a:ext cx="31197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Reálný a predikovaný počet pacientů</a:t>
            </a:r>
          </a:p>
        </p:txBody>
      </p:sp>
      <p:sp>
        <p:nvSpPr>
          <p:cNvPr id="21" name="TextBox 9">
            <a:extLst>
              <a:ext uri="{FF2B5EF4-FFF2-40B4-BE49-F238E27FC236}">
                <a16:creationId xmlns:a16="http://schemas.microsoft.com/office/drawing/2014/main" id="{A9A8C5BA-26C5-4E88-9F5B-549ACDBA4853}"/>
              </a:ext>
            </a:extLst>
          </p:cNvPr>
          <p:cNvSpPr txBox="1"/>
          <p:nvPr>
            <p:custDataLst>
              <p:tags r:id="rId7"/>
            </p:custDataLst>
          </p:nvPr>
        </p:nvSpPr>
        <p:spPr>
          <a:xfrm>
            <a:off x="9803538" y="2369618"/>
            <a:ext cx="238846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v nemocnicích regionu a rozsah pravděpodobnostních predikcí </a:t>
            </a:r>
          </a:p>
        </p:txBody>
      </p:sp>
      <p:grpSp>
        <p:nvGrpSpPr>
          <p:cNvPr id="22" name="Skupina 21">
            <a:extLst>
              <a:ext uri="{FF2B5EF4-FFF2-40B4-BE49-F238E27FC236}">
                <a16:creationId xmlns:a16="http://schemas.microsoft.com/office/drawing/2014/main" id="{1795D034-72FD-4F2B-9BDA-3E37A4BAAA67}"/>
              </a:ext>
            </a:extLst>
          </p:cNvPr>
          <p:cNvGrpSpPr/>
          <p:nvPr>
            <p:custDataLst>
              <p:tags r:id="rId8"/>
            </p:custDataLst>
          </p:nvPr>
        </p:nvGrpSpPr>
        <p:grpSpPr>
          <a:xfrm>
            <a:off x="9881260" y="3327524"/>
            <a:ext cx="2221115" cy="2677656"/>
            <a:chOff x="9993159" y="3767843"/>
            <a:chExt cx="2221115" cy="2677656"/>
          </a:xfrm>
        </p:grpSpPr>
        <p:grpSp>
          <p:nvGrpSpPr>
            <p:cNvPr id="33" name="Skupina 32">
              <a:extLst>
                <a:ext uri="{FF2B5EF4-FFF2-40B4-BE49-F238E27FC236}">
                  <a16:creationId xmlns:a16="http://schemas.microsoft.com/office/drawing/2014/main" id="{C1801E2B-5217-4A40-9887-D4D8D0FE3EFF}"/>
                </a:ext>
              </a:extLst>
            </p:cNvPr>
            <p:cNvGrpSpPr/>
            <p:nvPr>
              <p:custDataLst>
                <p:tags r:id="rId10"/>
              </p:custDataLst>
            </p:nvPr>
          </p:nvGrpSpPr>
          <p:grpSpPr>
            <a:xfrm>
              <a:off x="9993159" y="3767843"/>
              <a:ext cx="2221115" cy="2677656"/>
              <a:chOff x="10258697" y="3526984"/>
              <a:chExt cx="2221115" cy="2677656"/>
            </a:xfrm>
          </p:grpSpPr>
          <p:cxnSp>
            <p:nvCxnSpPr>
              <p:cNvPr id="41" name="Přímá spojnice 40">
                <a:extLst>
                  <a:ext uri="{FF2B5EF4-FFF2-40B4-BE49-F238E27FC236}">
                    <a16:creationId xmlns:a16="http://schemas.microsoft.com/office/drawing/2014/main" id="{446DFC13-8F3A-43EB-9A7A-C47031E55F2B}"/>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42" name="Přímá spojnice 41">
                <a:extLst>
                  <a:ext uri="{FF2B5EF4-FFF2-40B4-BE49-F238E27FC236}">
                    <a16:creationId xmlns:a16="http://schemas.microsoft.com/office/drawing/2014/main" id="{31D5C6F4-F0BB-45A0-AFB5-FC7A59EFDB40}"/>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43" name="Obdélník 42">
                <a:extLst>
                  <a:ext uri="{FF2B5EF4-FFF2-40B4-BE49-F238E27FC236}">
                    <a16:creationId xmlns:a16="http://schemas.microsoft.com/office/drawing/2014/main" id="{48E88BBB-CEF4-455A-A6CB-89AACCEBEEF8}"/>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4" name="TextovéPole 28">
                <a:extLst>
                  <a:ext uri="{FF2B5EF4-FFF2-40B4-BE49-F238E27FC236}">
                    <a16:creationId xmlns:a16="http://schemas.microsoft.com/office/drawing/2014/main" id="{A56BD0F1-34E8-451A-B545-A8CAB7B35E7A}"/>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Reálné hodno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horní hranice predikce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třední hodnoty predik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podní hranice predikce </a:t>
                </a: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cxnSp>
          <p:nvCxnSpPr>
            <p:cNvPr id="37" name="Přímá spojnice 36">
              <a:extLst>
                <a:ext uri="{FF2B5EF4-FFF2-40B4-BE49-F238E27FC236}">
                  <a16:creationId xmlns:a16="http://schemas.microsoft.com/office/drawing/2014/main" id="{4B908267-772A-4AD8-AD63-D229CC03B90D}"/>
                </a:ext>
              </a:extLst>
            </p:cNvPr>
            <p:cNvCxnSpPr>
              <a:cxnSpLocks/>
            </p:cNvCxnSpPr>
            <p:nvPr>
              <p:custDataLst>
                <p:tags r:id="rId11"/>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graphicFrame>
        <p:nvGraphicFramePr>
          <p:cNvPr id="27" name="Chart 11">
            <a:extLst>
              <a:ext uri="{FF2B5EF4-FFF2-40B4-BE49-F238E27FC236}">
                <a16:creationId xmlns:a16="http://schemas.microsoft.com/office/drawing/2014/main" id="{6DBEA0BB-4B59-4C4F-A60C-A9CE1D56D882}"/>
              </a:ext>
            </a:extLst>
          </p:cNvPr>
          <p:cNvGraphicFramePr/>
          <p:nvPr>
            <p:extLst>
              <p:ext uri="{D42A27DB-BD31-4B8C-83A1-F6EECF244321}">
                <p14:modId xmlns:p14="http://schemas.microsoft.com/office/powerpoint/2010/main" val="143967002"/>
              </p:ext>
            </p:extLst>
          </p:nvPr>
        </p:nvGraphicFramePr>
        <p:xfrm>
          <a:off x="386622" y="1816326"/>
          <a:ext cx="11805378" cy="4921702"/>
        </p:xfrm>
        <a:graphic>
          <a:graphicData uri="http://schemas.openxmlformats.org/drawingml/2006/chart">
            <c:chart xmlns:c="http://schemas.openxmlformats.org/drawingml/2006/chart" xmlns:r="http://schemas.openxmlformats.org/officeDocument/2006/relationships" r:id="rId13"/>
          </a:graphicData>
        </a:graphic>
      </p:graphicFrame>
      <p:sp>
        <p:nvSpPr>
          <p:cNvPr id="19" name="TextovéPole 18">
            <a:extLst>
              <a:ext uri="{FF2B5EF4-FFF2-40B4-BE49-F238E27FC236}">
                <a16:creationId xmlns:a16="http://schemas.microsoft.com/office/drawing/2014/main" id="{12E0098B-B2A3-4583-B3F6-859BE286077C}"/>
              </a:ext>
            </a:extLst>
          </p:cNvPr>
          <p:cNvSpPr txBox="1"/>
          <p:nvPr>
            <p:custDataLst>
              <p:tags r:id="rId9"/>
            </p:custDataLst>
          </p:nvPr>
        </p:nvSpPr>
        <p:spPr>
          <a:xfrm>
            <a:off x="1134992" y="1383444"/>
            <a:ext cx="612183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effectLst/>
                <a:uLnTx/>
                <a:uFillTx/>
                <a:latin typeface="Calibri" panose="020F0502020204030204"/>
                <a:ea typeface="+mn-ea"/>
                <a:cs typeface="+mn-cs"/>
              </a:rPr>
              <a:t>Celkový počet hospitalizovaných pacientů je zkreslen obdobím Vánoc, kdy bylo větší množství pacientů propouštěn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effectLst/>
                <a:uLnTx/>
                <a:uFillTx/>
                <a:latin typeface="Calibri" panose="020F0502020204030204"/>
                <a:ea typeface="+mn-ea"/>
                <a:cs typeface="+mn-cs"/>
              </a:rPr>
              <a:t>do domácí léčby a denní příjmy významně klesly. </a:t>
            </a:r>
            <a:endParaRPr kumimoji="0" lang="en-US" sz="1800" b="1" i="1" u="none" strike="noStrike" kern="1200" cap="none" spc="0" normalizeH="0" baseline="0" noProof="0" dirty="0">
              <a:ln>
                <a:noFill/>
              </a:ln>
              <a:effectLst/>
              <a:uLnTx/>
              <a:uFillTx/>
              <a:latin typeface="Calibri" panose="020F0502020204030204"/>
              <a:ea typeface="+mn-ea"/>
              <a:cs typeface="+mn-cs"/>
            </a:endParaRPr>
          </a:p>
        </p:txBody>
      </p:sp>
    </p:spTree>
    <p:extLst>
      <p:ext uri="{BB962C8B-B14F-4D97-AF65-F5344CB8AC3E}">
        <p14:creationId xmlns:p14="http://schemas.microsoft.com/office/powerpoint/2010/main" val="9442822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440022" cy="576000"/>
          </a:xfrm>
        </p:spPr>
        <p:txBody>
          <a:bodyPr/>
          <a:lstStyle/>
          <a:p>
            <a:r>
              <a:rPr lang="cs-CZ" sz="1800" dirty="0"/>
              <a:t>Predikce počtu pacientů na JIP – aktuální počet případů </a:t>
            </a:r>
            <a:endParaRPr lang="cs-CZ" sz="1800" dirty="0">
              <a:solidFill>
                <a:srgbClr val="00FF00"/>
              </a:solidFill>
            </a:endParaRPr>
          </a:p>
        </p:txBody>
      </p:sp>
      <p:sp>
        <p:nvSpPr>
          <p:cNvPr id="23" name="TextovéPole 22">
            <a:extLst>
              <a:ext uri="{FF2B5EF4-FFF2-40B4-BE49-F238E27FC236}">
                <a16:creationId xmlns:a16="http://schemas.microsoft.com/office/drawing/2014/main" id="{7254C57B-23A2-45E4-9157-3C0592F87311}"/>
              </a:ext>
            </a:extLst>
          </p:cNvPr>
          <p:cNvSpPr txBox="1"/>
          <p:nvPr>
            <p:custDataLst>
              <p:tags r:id="rId2"/>
            </p:custDataLst>
          </p:nvPr>
        </p:nvSpPr>
        <p:spPr>
          <a:xfrm>
            <a:off x="154578" y="658863"/>
            <a:ext cx="26682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prstClr val="black"/>
                </a:solidFill>
                <a:effectLst/>
                <a:uLnTx/>
                <a:uFillTx/>
                <a:latin typeface="Arial" panose="020B0604020202020204"/>
                <a:ea typeface="+mn-ea"/>
                <a:cs typeface="+mn-cs"/>
              </a:rPr>
              <a:t>Česká republika</a:t>
            </a:r>
          </a:p>
        </p:txBody>
      </p:sp>
      <p:sp>
        <p:nvSpPr>
          <p:cNvPr id="25" name="TextBox 31">
            <a:extLst>
              <a:ext uri="{FF2B5EF4-FFF2-40B4-BE49-F238E27FC236}">
                <a16:creationId xmlns:a16="http://schemas.microsoft.com/office/drawing/2014/main" id="{2B7B016C-730A-4D13-8F30-5D1F0893DC67}"/>
              </a:ext>
            </a:extLst>
          </p:cNvPr>
          <p:cNvSpPr txBox="1"/>
          <p:nvPr>
            <p:custDataLst>
              <p:tags r:id="rId3"/>
            </p:custDataLst>
          </p:nvPr>
        </p:nvSpPr>
        <p:spPr>
          <a:xfrm>
            <a:off x="265660" y="6088849"/>
            <a:ext cx="7120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Datum</a:t>
            </a:r>
          </a:p>
        </p:txBody>
      </p:sp>
      <p:grpSp>
        <p:nvGrpSpPr>
          <p:cNvPr id="34" name="Skupina 33">
            <a:extLst>
              <a:ext uri="{FF2B5EF4-FFF2-40B4-BE49-F238E27FC236}">
                <a16:creationId xmlns:a16="http://schemas.microsoft.com/office/drawing/2014/main" id="{A5D207FE-E9F1-45F3-900D-8666E5F661F4}"/>
              </a:ext>
            </a:extLst>
          </p:cNvPr>
          <p:cNvGrpSpPr/>
          <p:nvPr>
            <p:custDataLst>
              <p:tags r:id="rId4"/>
            </p:custDataLst>
          </p:nvPr>
        </p:nvGrpSpPr>
        <p:grpSpPr>
          <a:xfrm>
            <a:off x="7472080" y="1057588"/>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sp>
        <p:nvSpPr>
          <p:cNvPr id="3" name="Obdélník 2">
            <a:extLst>
              <a:ext uri="{FF2B5EF4-FFF2-40B4-BE49-F238E27FC236}">
                <a16:creationId xmlns:a16="http://schemas.microsoft.com/office/drawing/2014/main" id="{239746E9-FF79-425B-B52E-C36853FB28DB}"/>
              </a:ext>
            </a:extLst>
          </p:cNvPr>
          <p:cNvSpPr/>
          <p:nvPr>
            <p:custDataLst>
              <p:tags r:id="rId5"/>
            </p:custDataLst>
          </p:nvPr>
        </p:nvSpPr>
        <p:spPr>
          <a:xfrm>
            <a:off x="7478982" y="1060251"/>
            <a:ext cx="3956538" cy="738664"/>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Predikce počtu pacientů vyžadujících intenzivní péči na základě modelů při parametrech nemoci z období 10/2021–11/2021 pro různé scénáře</a:t>
            </a:r>
            <a:endParaRPr kumimoji="0" lang="cs-CZ"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8" name="TextBox 9">
            <a:extLst>
              <a:ext uri="{FF2B5EF4-FFF2-40B4-BE49-F238E27FC236}">
                <a16:creationId xmlns:a16="http://schemas.microsoft.com/office/drawing/2014/main" id="{3894B16B-2753-4AFE-9F8D-E78A709894B7}"/>
              </a:ext>
            </a:extLst>
          </p:cNvPr>
          <p:cNvSpPr txBox="1"/>
          <p:nvPr>
            <p:custDataLst>
              <p:tags r:id="rId6"/>
            </p:custDataLst>
          </p:nvPr>
        </p:nvSpPr>
        <p:spPr>
          <a:xfrm>
            <a:off x="9803538" y="2369618"/>
            <a:ext cx="238846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na JIP v nemocnicích regionu a rozsah pravděpodobnostních predikcí </a:t>
            </a:r>
          </a:p>
        </p:txBody>
      </p:sp>
      <p:grpSp>
        <p:nvGrpSpPr>
          <p:cNvPr id="29" name="Skupina 28">
            <a:extLst>
              <a:ext uri="{FF2B5EF4-FFF2-40B4-BE49-F238E27FC236}">
                <a16:creationId xmlns:a16="http://schemas.microsoft.com/office/drawing/2014/main" id="{50B0F0EF-F100-4894-B162-A2108E64BACC}"/>
              </a:ext>
            </a:extLst>
          </p:cNvPr>
          <p:cNvGrpSpPr/>
          <p:nvPr>
            <p:custDataLst>
              <p:tags r:id="rId7"/>
            </p:custDataLst>
          </p:nvPr>
        </p:nvGrpSpPr>
        <p:grpSpPr>
          <a:xfrm>
            <a:off x="9881260" y="3327524"/>
            <a:ext cx="2221115" cy="2677656"/>
            <a:chOff x="9993159" y="3767843"/>
            <a:chExt cx="2221115" cy="2677656"/>
          </a:xfrm>
        </p:grpSpPr>
        <p:grpSp>
          <p:nvGrpSpPr>
            <p:cNvPr id="30" name="Skupina 29">
              <a:extLst>
                <a:ext uri="{FF2B5EF4-FFF2-40B4-BE49-F238E27FC236}">
                  <a16:creationId xmlns:a16="http://schemas.microsoft.com/office/drawing/2014/main" id="{4CB45048-7782-43BD-92D3-E36EA7C183EC}"/>
                </a:ext>
              </a:extLst>
            </p:cNvPr>
            <p:cNvGrpSpPr/>
            <p:nvPr>
              <p:custDataLst>
                <p:tags r:id="rId11"/>
              </p:custDataLst>
            </p:nvPr>
          </p:nvGrpSpPr>
          <p:grpSpPr>
            <a:xfrm>
              <a:off x="9993159" y="3767843"/>
              <a:ext cx="2221115" cy="2677656"/>
              <a:chOff x="10258697" y="3526984"/>
              <a:chExt cx="2221115" cy="2677656"/>
            </a:xfrm>
          </p:grpSpPr>
          <p:cxnSp>
            <p:nvCxnSpPr>
              <p:cNvPr id="32" name="Přímá spojnice 31">
                <a:extLst>
                  <a:ext uri="{FF2B5EF4-FFF2-40B4-BE49-F238E27FC236}">
                    <a16:creationId xmlns:a16="http://schemas.microsoft.com/office/drawing/2014/main" id="{AD532655-36DB-41A9-BBD6-4BA46B7F8103}"/>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40" name="Přímá spojnice 39">
                <a:extLst>
                  <a:ext uri="{FF2B5EF4-FFF2-40B4-BE49-F238E27FC236}">
                    <a16:creationId xmlns:a16="http://schemas.microsoft.com/office/drawing/2014/main" id="{5FB20AAC-D39F-4F15-B5E5-0FFBB07F4B8A}"/>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41" name="Obdélník 40">
                <a:extLst>
                  <a:ext uri="{FF2B5EF4-FFF2-40B4-BE49-F238E27FC236}">
                    <a16:creationId xmlns:a16="http://schemas.microsoft.com/office/drawing/2014/main" id="{8A0282F5-E2C3-48CC-B0E6-67E2D9C8230E}"/>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2" name="TextovéPole 28">
                <a:extLst>
                  <a:ext uri="{FF2B5EF4-FFF2-40B4-BE49-F238E27FC236}">
                    <a16:creationId xmlns:a16="http://schemas.microsoft.com/office/drawing/2014/main" id="{D712442A-10A9-41F3-8911-4BCA9D1B71A1}"/>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Reálné hodno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horní hranice predikce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třední hodnoty predik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podní hranice predikce </a:t>
                </a: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cxnSp>
          <p:nvCxnSpPr>
            <p:cNvPr id="31" name="Přímá spojnice 30">
              <a:extLst>
                <a:ext uri="{FF2B5EF4-FFF2-40B4-BE49-F238E27FC236}">
                  <a16:creationId xmlns:a16="http://schemas.microsoft.com/office/drawing/2014/main" id="{7F63D18B-C855-44EB-97FD-0A351BF3CDE7}"/>
                </a:ext>
              </a:extLst>
            </p:cNvPr>
            <p:cNvCxnSpPr>
              <a:cxnSpLocks/>
            </p:cNvCxnSpPr>
            <p:nvPr>
              <p:custDataLst>
                <p:tags r:id="rId12"/>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sp>
        <p:nvSpPr>
          <p:cNvPr id="43" name="TextBox 14">
            <a:extLst>
              <a:ext uri="{FF2B5EF4-FFF2-40B4-BE49-F238E27FC236}">
                <a16:creationId xmlns:a16="http://schemas.microsoft.com/office/drawing/2014/main" id="{DFDFA073-5EC4-4437-86EC-DC6B0197A6EF}"/>
              </a:ext>
            </a:extLst>
          </p:cNvPr>
          <p:cNvSpPr txBox="1"/>
          <p:nvPr>
            <p:custDataLst>
              <p:tags r:id="rId8"/>
            </p:custDataLst>
          </p:nvPr>
        </p:nvSpPr>
        <p:spPr>
          <a:xfrm rot="16200000">
            <a:off x="-1260971" y="3659017"/>
            <a:ext cx="31197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Reálný a predikovaný počet pacientů</a:t>
            </a:r>
          </a:p>
        </p:txBody>
      </p:sp>
      <p:graphicFrame>
        <p:nvGraphicFramePr>
          <p:cNvPr id="26" name="Chart 11">
            <a:extLst>
              <a:ext uri="{FF2B5EF4-FFF2-40B4-BE49-F238E27FC236}">
                <a16:creationId xmlns:a16="http://schemas.microsoft.com/office/drawing/2014/main" id="{1B1AA23F-6E88-432F-93F7-55A0B8EBF76C}"/>
              </a:ext>
            </a:extLst>
          </p:cNvPr>
          <p:cNvGraphicFramePr/>
          <p:nvPr>
            <p:extLst>
              <p:ext uri="{D42A27DB-BD31-4B8C-83A1-F6EECF244321}">
                <p14:modId xmlns:p14="http://schemas.microsoft.com/office/powerpoint/2010/main" val="1840962043"/>
              </p:ext>
            </p:extLst>
          </p:nvPr>
        </p:nvGraphicFramePr>
        <p:xfrm>
          <a:off x="386622" y="1800828"/>
          <a:ext cx="11805378" cy="4921702"/>
        </p:xfrm>
        <a:graphic>
          <a:graphicData uri="http://schemas.openxmlformats.org/drawingml/2006/chart">
            <c:chart xmlns:c="http://schemas.openxmlformats.org/drawingml/2006/chart" xmlns:r="http://schemas.openxmlformats.org/officeDocument/2006/relationships" r:id="rId14"/>
          </a:graphicData>
        </a:graphic>
      </p:graphicFrame>
      <p:sp>
        <p:nvSpPr>
          <p:cNvPr id="19" name="TextovéPole 18">
            <a:extLst>
              <a:ext uri="{FF2B5EF4-FFF2-40B4-BE49-F238E27FC236}">
                <a16:creationId xmlns:a16="http://schemas.microsoft.com/office/drawing/2014/main" id="{4CF6E85D-2777-493A-9C66-EFCE6D543780}"/>
              </a:ext>
            </a:extLst>
          </p:cNvPr>
          <p:cNvSpPr txBox="1"/>
          <p:nvPr>
            <p:custDataLst>
              <p:tags r:id="rId9"/>
            </p:custDataLst>
          </p:nvPr>
        </p:nvSpPr>
        <p:spPr>
          <a:xfrm>
            <a:off x="1232269" y="1334736"/>
            <a:ext cx="5800829" cy="646331"/>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Počet pacientů vyžadujících intenzivní péči klesá pomalu, denní příjmy na JIP jsou stále vyšší než 70. </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TextovéPole 19">
            <a:extLst>
              <a:ext uri="{FF2B5EF4-FFF2-40B4-BE49-F238E27FC236}">
                <a16:creationId xmlns:a16="http://schemas.microsoft.com/office/drawing/2014/main" id="{982B6C7A-B848-42DD-B1EE-9F689E41ABFE}"/>
              </a:ext>
            </a:extLst>
          </p:cNvPr>
          <p:cNvSpPr txBox="1"/>
          <p:nvPr>
            <p:custDataLst>
              <p:tags r:id="rId10"/>
            </p:custDataLst>
          </p:nvPr>
        </p:nvSpPr>
        <p:spPr>
          <a:xfrm>
            <a:off x="2908569" y="2031660"/>
            <a:ext cx="4029219"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0000"/>
                </a:solidFill>
                <a:effectLst/>
                <a:uLnTx/>
                <a:uFillTx/>
                <a:latin typeface="Calibri" panose="020F0502020204030204"/>
                <a:ea typeface="+mn-ea"/>
                <a:cs typeface="+mn-cs"/>
              </a:rPr>
              <a:t>Problémem jsou také rostoucí počty dlouhodobě léčených „postcovid“ pacientů, kteří </a:t>
            </a:r>
            <a:r>
              <a:rPr lang="cs-CZ" sz="1600" b="1" dirty="0">
                <a:solidFill>
                  <a:srgbClr val="FF0000"/>
                </a:solidFill>
                <a:latin typeface="Calibri" panose="020F0502020204030204"/>
              </a:rPr>
              <a:t>navyšují zátěž o dalších &gt; 30%.</a:t>
            </a: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cxnSp>
        <p:nvCxnSpPr>
          <p:cNvPr id="5" name="Přímá spojnice se šipkou 4">
            <a:extLst>
              <a:ext uri="{FF2B5EF4-FFF2-40B4-BE49-F238E27FC236}">
                <a16:creationId xmlns:a16="http://schemas.microsoft.com/office/drawing/2014/main" id="{6EC5587B-C862-4B13-AF9E-EDCA1A49AA26}"/>
              </a:ext>
            </a:extLst>
          </p:cNvPr>
          <p:cNvCxnSpPr/>
          <p:nvPr/>
        </p:nvCxnSpPr>
        <p:spPr>
          <a:xfrm>
            <a:off x="9066179" y="3862749"/>
            <a:ext cx="0" cy="515566"/>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015504E2-A07A-4036-9D48-5CB40427DDBE}"/>
              </a:ext>
            </a:extLst>
          </p:cNvPr>
          <p:cNvCxnSpPr/>
          <p:nvPr/>
        </p:nvCxnSpPr>
        <p:spPr>
          <a:xfrm>
            <a:off x="6954001" y="2189376"/>
            <a:ext cx="0" cy="515566"/>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4968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4056585" y="3564565"/>
            <a:ext cx="7901128" cy="267765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Počet nově prokázaných případů nákazy se v pracovních dnech nyní pohybuje nad </a:t>
            </a:r>
            <a:r>
              <a:rPr kumimoji="0" lang="cs-CZ" sz="2400" b="1" i="0" u="sng" strike="noStrike" kern="1200" cap="none" spc="0" normalizeH="0" baseline="0" noProof="0" dirty="0">
                <a:ln>
                  <a:noFill/>
                </a:ln>
                <a:solidFill>
                  <a:prstClr val="black"/>
                </a:solidFill>
                <a:effectLst/>
                <a:uLnTx/>
                <a:uFillTx/>
                <a:latin typeface="Calibri" panose="020F0502020204030204"/>
                <a:ea typeface="+mn-ea"/>
                <a:cs typeface="+mn-cs"/>
              </a:rPr>
              <a:t>7 000 – 9 000</a:t>
            </a: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Populační relativní pozitivita u klinicky indikovaných testů klesá, avšak stále je v nejvíce zatížených krajích cca 3</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0</a:t>
            </a: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 %.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1" i="0" u="none" strike="noStrike" kern="1200" cap="none" spc="0" normalizeH="0" baseline="0" noProof="0" dirty="0" err="1">
                <a:ln>
                  <a:noFill/>
                </a:ln>
                <a:solidFill>
                  <a:srgbClr val="FF0000"/>
                </a:solidFill>
                <a:effectLst/>
                <a:uLnTx/>
                <a:uFillTx/>
                <a:latin typeface="Calibri" panose="020F0502020204030204"/>
                <a:ea typeface="+mn-ea"/>
                <a:cs typeface="+mn-cs"/>
              </a:rPr>
              <a:t>Nad</a:t>
            </a:r>
            <a:r>
              <a:rPr kumimoji="0" lang="cs-CZ" sz="2400" b="1" i="0" u="none" strike="noStrike" kern="1200" cap="none" spc="0" normalizeH="0" baseline="0" noProof="0" dirty="0">
                <a:ln>
                  <a:noFill/>
                </a:ln>
                <a:solidFill>
                  <a:srgbClr val="FF0000"/>
                </a:solidFill>
                <a:effectLst/>
                <a:uLnTx/>
                <a:uFillTx/>
                <a:latin typeface="Calibri" panose="020F0502020204030204"/>
                <a:ea typeface="+mn-ea"/>
                <a:cs typeface="+mn-cs"/>
              </a:rPr>
              <a:t>á</a:t>
            </a:r>
            <a:r>
              <a:rPr kumimoji="0" lang="en-US" sz="2400" b="1" i="0" u="none" strike="noStrike" kern="1200" cap="none" spc="0" normalizeH="0" baseline="0" noProof="0" dirty="0">
                <a:ln>
                  <a:noFill/>
                </a:ln>
                <a:solidFill>
                  <a:srgbClr val="FF0000"/>
                </a:solidFill>
                <a:effectLst/>
                <a:uLnTx/>
                <a:uFillTx/>
                <a:latin typeface="Calibri" panose="020F0502020204030204"/>
                <a:ea typeface="+mn-ea"/>
                <a:cs typeface="+mn-cs"/>
              </a:rPr>
              <a:t>le je </a:t>
            </a:r>
            <a:r>
              <a:rPr kumimoji="0" lang="cs-CZ" sz="2400" b="1" i="0" u="none" strike="noStrike" kern="1200" cap="none" spc="0" normalizeH="0" baseline="0" noProof="0" dirty="0">
                <a:ln>
                  <a:noFill/>
                </a:ln>
                <a:solidFill>
                  <a:srgbClr val="FF0000"/>
                </a:solidFill>
                <a:effectLst/>
                <a:uLnTx/>
                <a:uFillTx/>
                <a:latin typeface="Calibri" panose="020F0502020204030204"/>
                <a:ea typeface="+mn-ea"/>
                <a:cs typeface="+mn-cs"/>
              </a:rPr>
              <a:t>vysoký počet nakažených potenciálně zranitelných osob, který se promítá do pomalého poklesu zátěže nemocnic a do stále vysoké mortality</a:t>
            </a:r>
            <a:endPar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Šipka dolů 5"/>
          <p:cNvSpPr/>
          <p:nvPr/>
        </p:nvSpPr>
        <p:spPr>
          <a:xfrm rot="16200000">
            <a:off x="2979044" y="4673478"/>
            <a:ext cx="1695252" cy="45982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0" y="153370"/>
            <a:ext cx="12075736" cy="149445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Většina populačních ukazatelů epidemie silně poklesla během Vánoc v důsledku významného snížení počtu testů.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První hodnoty z 27.12. - 28.12. ukazují na stále vysokou zátěž populace:</a:t>
            </a:r>
            <a:r>
              <a:rPr lang="cs-CZ" sz="3400" b="1" dirty="0">
                <a:solidFill>
                  <a:prstClr val="black"/>
                </a:solidFill>
                <a:latin typeface="Calibri" panose="020F0502020204030204"/>
              </a:rPr>
              <a:t> </a:t>
            </a: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ve srovnání s 20.12 - 21.12. jde ale stále o pokles</a:t>
            </a:r>
          </a:p>
        </p:txBody>
      </p:sp>
      <p:sp>
        <p:nvSpPr>
          <p:cNvPr id="2" name="TextovéPole 1">
            <a:extLst>
              <a:ext uri="{FF2B5EF4-FFF2-40B4-BE49-F238E27FC236}">
                <a16:creationId xmlns:a16="http://schemas.microsoft.com/office/drawing/2014/main" id="{10E3CC22-D179-4233-825B-B1D2923D220B}"/>
              </a:ext>
            </a:extLst>
          </p:cNvPr>
          <p:cNvSpPr txBox="1"/>
          <p:nvPr/>
        </p:nvSpPr>
        <p:spPr>
          <a:xfrm>
            <a:off x="165702" y="2949756"/>
            <a:ext cx="3358218" cy="37548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400" b="1" i="0" u="none" strike="noStrike" kern="1200" cap="none" spc="0" normalizeH="0" baseline="0" noProof="0" dirty="0">
                <a:ln>
                  <a:noFill/>
                </a:ln>
                <a:solidFill>
                  <a:srgbClr val="FF0000"/>
                </a:solidFill>
                <a:effectLst/>
                <a:uLnTx/>
                <a:uFillTx/>
                <a:latin typeface="Calibri" panose="020F0502020204030204"/>
                <a:ea typeface="+mn-ea"/>
                <a:cs typeface="+mn-cs"/>
              </a:rPr>
              <a:t>Hodnoty klíčových indikátorů šíření epidemie, včetně rizik zdravotního dopadu, jsou stále rizikové</a:t>
            </a:r>
            <a:endParaRPr kumimoji="0" lang="en-US" sz="3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9" name="Šipka dolů 5">
            <a:extLst>
              <a:ext uri="{FF2B5EF4-FFF2-40B4-BE49-F238E27FC236}">
                <a16:creationId xmlns:a16="http://schemas.microsoft.com/office/drawing/2014/main" id="{9B3DA9D5-E08F-4F2C-ACD1-24B0A7393FE1}"/>
              </a:ext>
            </a:extLst>
          </p:cNvPr>
          <p:cNvSpPr/>
          <p:nvPr/>
        </p:nvSpPr>
        <p:spPr>
          <a:xfrm>
            <a:off x="5089512" y="2351838"/>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5469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6" name="Podnadpis 2">
            <a:extLst>
              <a:ext uri="{FF2B5EF4-FFF2-40B4-BE49-F238E27FC236}">
                <a16:creationId xmlns:a16="http://schemas.microsoft.com/office/drawing/2014/main" id="{36711FF8-0978-46E1-83BC-91CAD64BD107}"/>
              </a:ext>
            </a:extLst>
          </p:cNvPr>
          <p:cNvSpPr>
            <a:spLocks noGrp="1"/>
          </p:cNvSpPr>
          <p:nvPr>
            <p:ph type="subTitle" idx="1"/>
            <p:custDataLst>
              <p:tags r:id="rId2"/>
            </p:custDataLst>
          </p:nvPr>
        </p:nvSpPr>
        <p:spPr>
          <a:xfrm>
            <a:off x="0" y="3693109"/>
            <a:ext cx="12192000" cy="2317166"/>
          </a:xfrm>
        </p:spPr>
        <p:txBody>
          <a:bodyPr>
            <a:normAutofit/>
          </a:bodyPr>
          <a:lstStyle/>
          <a:p>
            <a:r>
              <a:rPr lang="cs-CZ" sz="4800" b="1" dirty="0">
                <a:solidFill>
                  <a:srgbClr val="FF0000"/>
                </a:solidFill>
              </a:rPr>
              <a:t>Negativní zpráva</a:t>
            </a:r>
            <a:r>
              <a:rPr lang="cs-CZ" sz="4600" b="1" i="1" dirty="0">
                <a:solidFill>
                  <a:srgbClr val="FF0000"/>
                </a:solidFill>
              </a:rPr>
              <a:t>:</a:t>
            </a:r>
            <a:r>
              <a:rPr lang="cs-CZ" sz="4600" b="1" i="1" dirty="0">
                <a:solidFill>
                  <a:srgbClr val="0000FF"/>
                </a:solidFill>
              </a:rPr>
              <a:t> </a:t>
            </a:r>
          </a:p>
          <a:p>
            <a:r>
              <a:rPr lang="cs-CZ" sz="4600" b="1" dirty="0"/>
              <a:t>riziko šíření nové varianty Omikron</a:t>
            </a:r>
            <a:endParaRPr lang="cs-CZ" sz="4800" b="1" dirty="0"/>
          </a:p>
        </p:txBody>
      </p:sp>
    </p:spTree>
    <p:extLst>
      <p:ext uri="{BB962C8B-B14F-4D97-AF65-F5344CB8AC3E}">
        <p14:creationId xmlns:p14="http://schemas.microsoft.com/office/powerpoint/2010/main" val="32092320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odnadpis 2">
            <a:extLst>
              <a:ext uri="{FF2B5EF4-FFF2-40B4-BE49-F238E27FC236}">
                <a16:creationId xmlns:a16="http://schemas.microsoft.com/office/drawing/2014/main" id="{3DC956FD-6669-4C82-B852-E3CE5A476C50}"/>
              </a:ext>
            </a:extLst>
          </p:cNvPr>
          <p:cNvSpPr txBox="1">
            <a:spLocks/>
          </p:cNvSpPr>
          <p:nvPr>
            <p:custDataLst>
              <p:tags r:id="rId1"/>
            </p:custDataLst>
          </p:nvPr>
        </p:nvSpPr>
        <p:spPr>
          <a:xfrm>
            <a:off x="0" y="153370"/>
            <a:ext cx="12075736" cy="59910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I přes pokles virové zátěže je stav epidemie stále rizikový.</a:t>
            </a:r>
          </a:p>
        </p:txBody>
      </p:sp>
      <p:sp>
        <p:nvSpPr>
          <p:cNvPr id="9" name="TextovéPole 8">
            <a:extLst>
              <a:ext uri="{FF2B5EF4-FFF2-40B4-BE49-F238E27FC236}">
                <a16:creationId xmlns:a16="http://schemas.microsoft.com/office/drawing/2014/main" id="{0F843C93-258B-4C61-A3D3-F094FF94BBBB}"/>
              </a:ext>
            </a:extLst>
          </p:cNvPr>
          <p:cNvSpPr txBox="1"/>
          <p:nvPr>
            <p:custDataLst>
              <p:tags r:id="rId2"/>
            </p:custDataLst>
          </p:nvPr>
        </p:nvSpPr>
        <p:spPr>
          <a:xfrm>
            <a:off x="94980" y="3376474"/>
            <a:ext cx="3475056"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Calibri" panose="020F0502020204030204"/>
                <a:ea typeface="+mn-ea"/>
                <a:cs typeface="+mn-cs"/>
              </a:rPr>
              <a:t>I při R v intervalu &lt; 0,8 neklesá počet nových případů na zcela bezpečnou hranic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Calibri" panose="020F0502020204030204"/>
                <a:ea typeface="+mn-ea"/>
                <a:cs typeface="+mn-cs"/>
              </a:rPr>
              <a:t>do konce roku </a:t>
            </a:r>
          </a:p>
        </p:txBody>
      </p:sp>
      <p:cxnSp>
        <p:nvCxnSpPr>
          <p:cNvPr id="10" name="Přímá spojnice se šipkou 9">
            <a:extLst>
              <a:ext uri="{FF2B5EF4-FFF2-40B4-BE49-F238E27FC236}">
                <a16:creationId xmlns:a16="http://schemas.microsoft.com/office/drawing/2014/main" id="{73E97BDE-C411-45A9-97BE-3AFE3B01E91C}"/>
              </a:ext>
            </a:extLst>
          </p:cNvPr>
          <p:cNvCxnSpPr>
            <a:cxnSpLocks/>
          </p:cNvCxnSpPr>
          <p:nvPr/>
        </p:nvCxnSpPr>
        <p:spPr>
          <a:xfrm flipH="1">
            <a:off x="1925976" y="1407396"/>
            <a:ext cx="3220269" cy="19690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Přímá spojnice se šipkou 10">
            <a:extLst>
              <a:ext uri="{FF2B5EF4-FFF2-40B4-BE49-F238E27FC236}">
                <a16:creationId xmlns:a16="http://schemas.microsoft.com/office/drawing/2014/main" id="{B2CE02EE-D32D-465A-8013-B16A4AAB91FA}"/>
              </a:ext>
            </a:extLst>
          </p:cNvPr>
          <p:cNvCxnSpPr>
            <a:cxnSpLocks/>
          </p:cNvCxnSpPr>
          <p:nvPr/>
        </p:nvCxnSpPr>
        <p:spPr>
          <a:xfrm>
            <a:off x="6042306" y="1407396"/>
            <a:ext cx="0" cy="29518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ovéPole 11">
            <a:extLst>
              <a:ext uri="{FF2B5EF4-FFF2-40B4-BE49-F238E27FC236}">
                <a16:creationId xmlns:a16="http://schemas.microsoft.com/office/drawing/2014/main" id="{4036F6CE-6011-4C5B-AE6A-965C15FD1477}"/>
              </a:ext>
            </a:extLst>
          </p:cNvPr>
          <p:cNvSpPr txBox="1"/>
          <p:nvPr>
            <p:custDataLst>
              <p:tags r:id="rId3"/>
            </p:custDataLst>
          </p:nvPr>
        </p:nvSpPr>
        <p:spPr>
          <a:xfrm>
            <a:off x="4031471" y="4430634"/>
            <a:ext cx="4031647"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Calibri" panose="020F0502020204030204"/>
                <a:ea typeface="+mn-ea"/>
                <a:cs typeface="+mn-cs"/>
              </a:rPr>
              <a:t>Relativní pozitivita indikovaných testů je stále vysoká (&gt; 25 - 30%) </a:t>
            </a:r>
          </a:p>
        </p:txBody>
      </p:sp>
      <p:cxnSp>
        <p:nvCxnSpPr>
          <p:cNvPr id="13" name="Přímá spojnice se šipkou 12">
            <a:extLst>
              <a:ext uri="{FF2B5EF4-FFF2-40B4-BE49-F238E27FC236}">
                <a16:creationId xmlns:a16="http://schemas.microsoft.com/office/drawing/2014/main" id="{3A729921-2EF4-4D88-9FED-CCD623787E67}"/>
              </a:ext>
            </a:extLst>
          </p:cNvPr>
          <p:cNvCxnSpPr>
            <a:cxnSpLocks/>
          </p:cNvCxnSpPr>
          <p:nvPr/>
        </p:nvCxnSpPr>
        <p:spPr>
          <a:xfrm>
            <a:off x="6938368" y="1365287"/>
            <a:ext cx="2996207" cy="20111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ovéPole 13">
            <a:extLst>
              <a:ext uri="{FF2B5EF4-FFF2-40B4-BE49-F238E27FC236}">
                <a16:creationId xmlns:a16="http://schemas.microsoft.com/office/drawing/2014/main" id="{D2C619EE-78FE-4EB7-AAD7-A9F58B494B9F}"/>
              </a:ext>
            </a:extLst>
          </p:cNvPr>
          <p:cNvSpPr txBox="1"/>
          <p:nvPr>
            <p:custDataLst>
              <p:tags r:id="rId4"/>
            </p:custDataLst>
          </p:nvPr>
        </p:nvSpPr>
        <p:spPr>
          <a:xfrm>
            <a:off x="8305800" y="3399316"/>
            <a:ext cx="3695297" cy="15696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Calibri" panose="020F0502020204030204"/>
                <a:ea typeface="+mn-ea"/>
                <a:cs typeface="+mn-cs"/>
              </a:rPr>
              <a:t>Zásah potenciálně zranitelných skupin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Calibri" panose="020F0502020204030204"/>
                <a:ea typeface="+mn-ea"/>
                <a:cs typeface="+mn-cs"/>
              </a:rPr>
              <a:t>+ riziko vyčerpání imunity u podstatné části populace</a:t>
            </a:r>
          </a:p>
        </p:txBody>
      </p:sp>
      <p:sp>
        <p:nvSpPr>
          <p:cNvPr id="15" name="Pravá složená závorka 14">
            <a:extLst>
              <a:ext uri="{FF2B5EF4-FFF2-40B4-BE49-F238E27FC236}">
                <a16:creationId xmlns:a16="http://schemas.microsoft.com/office/drawing/2014/main" id="{59636691-D99E-4523-BBC5-CF5F7CCF0F1F}"/>
              </a:ext>
            </a:extLst>
          </p:cNvPr>
          <p:cNvSpPr/>
          <p:nvPr/>
        </p:nvSpPr>
        <p:spPr>
          <a:xfrm rot="5400000">
            <a:off x="5786559" y="906824"/>
            <a:ext cx="618876" cy="10118361"/>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340621B9-8661-456E-84D3-2F8675F71B12}"/>
              </a:ext>
            </a:extLst>
          </p:cNvPr>
          <p:cNvSpPr txBox="1"/>
          <p:nvPr>
            <p:custDataLst>
              <p:tags r:id="rId5"/>
            </p:custDataLst>
          </p:nvPr>
        </p:nvSpPr>
        <p:spPr>
          <a:xfrm>
            <a:off x="1254175" y="6301046"/>
            <a:ext cx="9683647" cy="492443"/>
          </a:xfrm>
          <a:prstGeom prst="rect">
            <a:avLst/>
          </a:prstGeom>
          <a:solidFill>
            <a:srgbClr val="0000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prstClr val="white"/>
                </a:solidFill>
                <a:effectLst/>
                <a:uLnTx/>
                <a:uFillTx/>
                <a:latin typeface="Calibri" panose="020F0502020204030204"/>
                <a:ea typeface="+mn-ea"/>
                <a:cs typeface="+mn-cs"/>
              </a:rPr>
              <a:t>+ riziko šíření nové varianty SARS-CoV-2: Omikron </a:t>
            </a:r>
          </a:p>
        </p:txBody>
      </p:sp>
      <p:sp>
        <p:nvSpPr>
          <p:cNvPr id="17" name="TextovéPole 16">
            <a:extLst>
              <a:ext uri="{FF2B5EF4-FFF2-40B4-BE49-F238E27FC236}">
                <a16:creationId xmlns:a16="http://schemas.microsoft.com/office/drawing/2014/main" id="{42495CFC-E333-4421-8637-056057175897}"/>
              </a:ext>
            </a:extLst>
          </p:cNvPr>
          <p:cNvSpPr txBox="1"/>
          <p:nvPr/>
        </p:nvSpPr>
        <p:spPr>
          <a:xfrm>
            <a:off x="1290549" y="1840130"/>
            <a:ext cx="3392497" cy="523220"/>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Pomalý pokles zátěže</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FF0F4A57-75D1-46D8-8489-D5B9D32BD44F}"/>
              </a:ext>
            </a:extLst>
          </p:cNvPr>
          <p:cNvSpPr txBox="1"/>
          <p:nvPr/>
        </p:nvSpPr>
        <p:spPr>
          <a:xfrm>
            <a:off x="4466097" y="2679088"/>
            <a:ext cx="3140050" cy="1384995"/>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Stále vysoká prevalence aktivních nákaz</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ovéPole 18">
            <a:extLst>
              <a:ext uri="{FF2B5EF4-FFF2-40B4-BE49-F238E27FC236}">
                <a16:creationId xmlns:a16="http://schemas.microsoft.com/office/drawing/2014/main" id="{0B7535CD-64BC-4908-B963-781E47EAD561}"/>
              </a:ext>
            </a:extLst>
          </p:cNvPr>
          <p:cNvSpPr txBox="1"/>
          <p:nvPr/>
        </p:nvSpPr>
        <p:spPr>
          <a:xfrm>
            <a:off x="7834430" y="1976231"/>
            <a:ext cx="2927541" cy="523220"/>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Vyčerpání imunity</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TextovéPole 19">
            <a:extLst>
              <a:ext uri="{FF2B5EF4-FFF2-40B4-BE49-F238E27FC236}">
                <a16:creationId xmlns:a16="http://schemas.microsoft.com/office/drawing/2014/main" id="{05726619-D4A6-49E4-9A66-4E6087C2F165}"/>
              </a:ext>
            </a:extLst>
          </p:cNvPr>
          <p:cNvSpPr txBox="1"/>
          <p:nvPr/>
        </p:nvSpPr>
        <p:spPr>
          <a:xfrm>
            <a:off x="4023003" y="801239"/>
            <a:ext cx="4026238" cy="523220"/>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Vysoká nakažlivost viru</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81454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285750" y="216637"/>
            <a:ext cx="11375356" cy="5453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Co o Omikronu víme z mezinárodních reportů </a:t>
            </a:r>
          </a:p>
        </p:txBody>
      </p:sp>
      <p:sp>
        <p:nvSpPr>
          <p:cNvPr id="8" name="Podnadpis 2">
            <a:extLst>
              <a:ext uri="{FF2B5EF4-FFF2-40B4-BE49-F238E27FC236}">
                <a16:creationId xmlns:a16="http://schemas.microsoft.com/office/drawing/2014/main" id="{72F4B1F6-3562-4027-8B05-304F9A7C2D35}"/>
              </a:ext>
            </a:extLst>
          </p:cNvPr>
          <p:cNvSpPr txBox="1">
            <a:spLocks/>
          </p:cNvSpPr>
          <p:nvPr>
            <p:custDataLst>
              <p:tags r:id="rId2"/>
            </p:custDataLst>
          </p:nvPr>
        </p:nvSpPr>
        <p:spPr>
          <a:xfrm>
            <a:off x="9037401" y="1232169"/>
            <a:ext cx="3014765" cy="191504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Snížená zdravotní rizikovost je do značné míry  kompenzována vysokou nakažlivostí </a:t>
            </a:r>
          </a:p>
        </p:txBody>
      </p:sp>
      <p:sp>
        <p:nvSpPr>
          <p:cNvPr id="5" name="Podnadpis 2">
            <a:extLst>
              <a:ext uri="{FF2B5EF4-FFF2-40B4-BE49-F238E27FC236}">
                <a16:creationId xmlns:a16="http://schemas.microsoft.com/office/drawing/2014/main" id="{CE4DA141-1EED-4F1E-9661-17113DD29B24}"/>
              </a:ext>
            </a:extLst>
          </p:cNvPr>
          <p:cNvSpPr txBox="1">
            <a:spLocks/>
          </p:cNvSpPr>
          <p:nvPr>
            <p:custDataLst>
              <p:tags r:id="rId3"/>
            </p:custDataLst>
          </p:nvPr>
        </p:nvSpPr>
        <p:spPr>
          <a:xfrm>
            <a:off x="139834" y="1141378"/>
            <a:ext cx="3067050" cy="25456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effectLst/>
                <a:uLnTx/>
                <a:uFillTx/>
                <a:latin typeface="Calibri" panose="020F0502020204030204"/>
                <a:ea typeface="+mn-ea"/>
                <a:cs typeface="+mn-cs"/>
              </a:rPr>
              <a:t>Nakažlivost je pravděpodobně více než 2,5x vyšší než u dosud dominantní varianty Delta </a:t>
            </a:r>
          </a:p>
        </p:txBody>
      </p:sp>
      <p:sp>
        <p:nvSpPr>
          <p:cNvPr id="6" name="Podnadpis 2">
            <a:extLst>
              <a:ext uri="{FF2B5EF4-FFF2-40B4-BE49-F238E27FC236}">
                <a16:creationId xmlns:a16="http://schemas.microsoft.com/office/drawing/2014/main" id="{3CE8C11F-DF34-4FA0-B683-22DE22B7FA66}"/>
              </a:ext>
            </a:extLst>
          </p:cNvPr>
          <p:cNvSpPr txBox="1">
            <a:spLocks/>
          </p:cNvSpPr>
          <p:nvPr>
            <p:custDataLst>
              <p:tags r:id="rId4"/>
            </p:custDataLst>
          </p:nvPr>
        </p:nvSpPr>
        <p:spPr>
          <a:xfrm>
            <a:off x="4825324" y="1141587"/>
            <a:ext cx="3067050" cy="25456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effectLst/>
                <a:uLnTx/>
                <a:uFillTx/>
                <a:latin typeface="Calibri" panose="020F0502020204030204"/>
                <a:ea typeface="+mn-ea"/>
                <a:cs typeface="+mn-cs"/>
              </a:rPr>
              <a:t>Riziko těžkého průběhu nemoci bude pravděpodobně nižší o 50% až o 30%</a:t>
            </a:r>
          </a:p>
        </p:txBody>
      </p:sp>
      <p:sp>
        <p:nvSpPr>
          <p:cNvPr id="7" name="Podnadpis 2">
            <a:extLst>
              <a:ext uri="{FF2B5EF4-FFF2-40B4-BE49-F238E27FC236}">
                <a16:creationId xmlns:a16="http://schemas.microsoft.com/office/drawing/2014/main" id="{22F2ECD1-3E64-444B-946E-50988A6EACC6}"/>
              </a:ext>
            </a:extLst>
          </p:cNvPr>
          <p:cNvSpPr txBox="1">
            <a:spLocks/>
          </p:cNvSpPr>
          <p:nvPr>
            <p:custDataLst>
              <p:tags r:id="rId5"/>
            </p:custDataLst>
          </p:nvPr>
        </p:nvSpPr>
        <p:spPr>
          <a:xfrm>
            <a:off x="3291394" y="1246760"/>
            <a:ext cx="1223050" cy="19004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4000" b="1" i="0" u="none" strike="noStrike" kern="1200" cap="none" spc="0" normalizeH="0" baseline="0" noProof="0" dirty="0">
                <a:ln>
                  <a:noFill/>
                </a:ln>
                <a:solidFill>
                  <a:srgbClr val="FF0000"/>
                </a:solidFill>
                <a:effectLst/>
                <a:uLnTx/>
                <a:uFillTx/>
                <a:latin typeface="Calibri" panose="020F0502020204030204"/>
                <a:ea typeface="+mn-ea"/>
                <a:cs typeface="+mn-cs"/>
              </a:rPr>
              <a:t>X</a:t>
            </a:r>
          </a:p>
        </p:txBody>
      </p:sp>
      <p:sp>
        <p:nvSpPr>
          <p:cNvPr id="9" name="Podnadpis 2">
            <a:extLst>
              <a:ext uri="{FF2B5EF4-FFF2-40B4-BE49-F238E27FC236}">
                <a16:creationId xmlns:a16="http://schemas.microsoft.com/office/drawing/2014/main" id="{73D73E33-0260-4AB2-B4E6-4ABF39D682CC}"/>
              </a:ext>
            </a:extLst>
          </p:cNvPr>
          <p:cNvSpPr txBox="1">
            <a:spLocks/>
          </p:cNvSpPr>
          <p:nvPr>
            <p:custDataLst>
              <p:tags r:id="rId6"/>
            </p:custDataLst>
          </p:nvPr>
        </p:nvSpPr>
        <p:spPr>
          <a:xfrm>
            <a:off x="7743419" y="1251727"/>
            <a:ext cx="1223050" cy="19004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4000" b="1" i="0" u="none" strike="noStrike" kern="1200" cap="none" spc="0" normalizeH="0" baseline="0" noProof="0" dirty="0">
                <a:ln>
                  <a:noFill/>
                </a:ln>
                <a:solidFill>
                  <a:srgbClr val="FF0000"/>
                </a:solidFill>
                <a:effectLst/>
                <a:uLnTx/>
                <a:uFillTx/>
                <a:latin typeface="Calibri" panose="020F0502020204030204"/>
                <a:ea typeface="+mn-ea"/>
                <a:cs typeface="+mn-cs"/>
              </a:rPr>
              <a:t>=</a:t>
            </a:r>
          </a:p>
        </p:txBody>
      </p:sp>
      <p:sp>
        <p:nvSpPr>
          <p:cNvPr id="10" name="Podnadpis 2">
            <a:extLst>
              <a:ext uri="{FF2B5EF4-FFF2-40B4-BE49-F238E27FC236}">
                <a16:creationId xmlns:a16="http://schemas.microsoft.com/office/drawing/2014/main" id="{088B4A69-C540-4B80-998B-659A52EB742B}"/>
              </a:ext>
            </a:extLst>
          </p:cNvPr>
          <p:cNvSpPr txBox="1">
            <a:spLocks/>
          </p:cNvSpPr>
          <p:nvPr>
            <p:custDataLst>
              <p:tags r:id="rId7"/>
            </p:custDataLst>
          </p:nvPr>
        </p:nvSpPr>
        <p:spPr>
          <a:xfrm>
            <a:off x="943785" y="4613840"/>
            <a:ext cx="1223050" cy="19004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4000" b="1" i="0" u="none" strike="noStrike" kern="1200" cap="none" spc="0" normalizeH="0" baseline="0" noProof="0" dirty="0">
                <a:ln>
                  <a:noFill/>
                </a:ln>
                <a:solidFill>
                  <a:srgbClr val="FF0000"/>
                </a:solidFill>
                <a:effectLst/>
                <a:uLnTx/>
                <a:uFillTx/>
                <a:latin typeface="Calibri" panose="020F0502020204030204"/>
                <a:ea typeface="+mn-ea"/>
                <a:cs typeface="+mn-cs"/>
              </a:rPr>
              <a:t>!</a:t>
            </a:r>
          </a:p>
        </p:txBody>
      </p:sp>
      <p:sp>
        <p:nvSpPr>
          <p:cNvPr id="11" name="Podnadpis 2">
            <a:extLst>
              <a:ext uri="{FF2B5EF4-FFF2-40B4-BE49-F238E27FC236}">
                <a16:creationId xmlns:a16="http://schemas.microsoft.com/office/drawing/2014/main" id="{AB757C9D-ED05-4E9D-8366-1A2C04FF403B}"/>
              </a:ext>
            </a:extLst>
          </p:cNvPr>
          <p:cNvSpPr txBox="1">
            <a:spLocks/>
          </p:cNvSpPr>
          <p:nvPr>
            <p:custDataLst>
              <p:tags r:id="rId8"/>
            </p:custDataLst>
          </p:nvPr>
        </p:nvSpPr>
        <p:spPr>
          <a:xfrm>
            <a:off x="2150622" y="4521472"/>
            <a:ext cx="9321531" cy="191504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Variantu nelze podceňovat. Ve velmi krátkém čase vytěsní variantu Delta a nakazí velmi vysoký počet osob. I při významné snížené virulenci tak má potenciál přetížit nemocniční péči. A to i v důsledku zvýšeného rizika průlomových infekcí. </a:t>
            </a:r>
          </a:p>
        </p:txBody>
      </p:sp>
    </p:spTree>
    <p:extLst>
      <p:ext uri="{BB962C8B-B14F-4D97-AF65-F5344CB8AC3E}">
        <p14:creationId xmlns:p14="http://schemas.microsoft.com/office/powerpoint/2010/main" val="13875632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82273" y="111861"/>
            <a:ext cx="12109728" cy="151180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Reálná data reportovaná z JAR a UK ukazují na vysokou nakažlivost varianty Omikron, vysokou rychlost ve vytlačování varianty Delta, ale nižší smrtnost </a:t>
            </a:r>
          </a:p>
        </p:txBody>
      </p:sp>
      <p:sp>
        <p:nvSpPr>
          <p:cNvPr id="16" name="Podnadpis 2">
            <a:extLst>
              <a:ext uri="{FF2B5EF4-FFF2-40B4-BE49-F238E27FC236}">
                <a16:creationId xmlns:a16="http://schemas.microsoft.com/office/drawing/2014/main" id="{F3DA71C0-67CB-4D49-B046-12F85B594449}"/>
              </a:ext>
            </a:extLst>
          </p:cNvPr>
          <p:cNvSpPr txBox="1">
            <a:spLocks/>
          </p:cNvSpPr>
          <p:nvPr>
            <p:custDataLst>
              <p:tags r:id="rId2"/>
            </p:custDataLst>
          </p:nvPr>
        </p:nvSpPr>
        <p:spPr>
          <a:xfrm>
            <a:off x="8071129" y="1695133"/>
            <a:ext cx="3886200" cy="44298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Dostupná data z literatury (JAR, UK) ukazují na nižší, cca poloviční až třetinové  riziko hospitalizací Omikronu ve srovnání s variantou Delt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cs-CZ" sz="3000" b="1" dirty="0">
                <a:solidFill>
                  <a:srgbClr val="FF0000"/>
                </a:solidFill>
                <a:latin typeface="Calibri" panose="020F0502020204030204"/>
              </a:rPr>
              <a:t>Pokles virulence je avšak kompenzován vysokou nakažlivostí. </a:t>
            </a:r>
            <a:endPar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0" name="TextovéPole 19">
            <a:extLst>
              <a:ext uri="{FF2B5EF4-FFF2-40B4-BE49-F238E27FC236}">
                <a16:creationId xmlns:a16="http://schemas.microsoft.com/office/drawing/2014/main" id="{1EE5F7F8-8ABE-4E3C-9385-6914C5436A78}"/>
              </a:ext>
            </a:extLst>
          </p:cNvPr>
          <p:cNvSpPr txBox="1"/>
          <p:nvPr/>
        </p:nvSpPr>
        <p:spPr>
          <a:xfrm>
            <a:off x="314326" y="1695133"/>
            <a:ext cx="7524750" cy="1908215"/>
          </a:xfrm>
          <a:prstGeom prst="rect">
            <a:avLst/>
          </a:prstGeom>
          <a:noFill/>
        </p:spPr>
        <p:txBody>
          <a:bodyPr wrap="square">
            <a:spAutoFit/>
          </a:bodyPr>
          <a:lstStyle/>
          <a:p>
            <a:r>
              <a:rPr lang="sv-SE" sz="1800" b="0" i="0" u="none" strike="noStrike" baseline="0" dirty="0">
                <a:solidFill>
                  <a:srgbClr val="0000FF"/>
                </a:solidFill>
                <a:latin typeface="Arial" panose="020B0604020202020204" pitchFamily="34" charset="0"/>
              </a:rPr>
              <a:t>https://doi.org/10.1101/2021.12.21.21268116</a:t>
            </a:r>
            <a:r>
              <a:rPr lang="sv-SE" sz="1800" b="0" i="0" u="none" strike="noStrike" baseline="0" dirty="0">
                <a:solidFill>
                  <a:srgbClr val="000000"/>
                </a:solidFill>
                <a:latin typeface="Arial" panose="020B0604020202020204" pitchFamily="34" charset="0"/>
              </a:rPr>
              <a:t>doi: medRxiv preprint </a:t>
            </a:r>
            <a:endParaRPr lang="cs-CZ" sz="1800" b="0" i="0" u="none" strike="noStrike" baseline="0" dirty="0">
              <a:solidFill>
                <a:srgbClr val="000000"/>
              </a:solidFill>
              <a:latin typeface="Arial" panose="020B0604020202020204" pitchFamily="34" charset="0"/>
            </a:endParaRPr>
          </a:p>
          <a:p>
            <a:r>
              <a:rPr lang="en-US" sz="1800" b="1" i="0" u="none" strike="noStrike" baseline="0" dirty="0">
                <a:solidFill>
                  <a:srgbClr val="000000"/>
                </a:solidFill>
                <a:latin typeface="Calibri" panose="020F0502020204030204" pitchFamily="34" charset="0"/>
              </a:rPr>
              <a:t>Early assessment of the clinical severity of the SARS-CoV-2 Omicron variant in South Africa </a:t>
            </a:r>
            <a:endParaRPr lang="cs-CZ" sz="1800" b="1" i="0" u="none" strike="noStrike" baseline="0" dirty="0">
              <a:solidFill>
                <a:srgbClr val="000000"/>
              </a:solidFill>
              <a:latin typeface="Calibri" panose="020F0502020204030204" pitchFamily="34" charset="0"/>
            </a:endParaRPr>
          </a:p>
          <a:p>
            <a:endParaRPr lang="en-US" sz="1600" b="0" i="0" u="none" strike="noStrike" baseline="0" dirty="0">
              <a:solidFill>
                <a:srgbClr val="000000"/>
              </a:solidFill>
              <a:latin typeface="Calibri" panose="020F0502020204030204" pitchFamily="34" charset="0"/>
            </a:endParaRPr>
          </a:p>
          <a:p>
            <a:r>
              <a:rPr lang="en-US" sz="1600" b="0" i="0" u="none" strike="noStrike" baseline="0" dirty="0">
                <a:solidFill>
                  <a:srgbClr val="000000"/>
                </a:solidFill>
                <a:latin typeface="Calibri" panose="020F0502020204030204" pitchFamily="34" charset="0"/>
              </a:rPr>
              <a:t>Nicole </a:t>
            </a:r>
            <a:r>
              <a:rPr lang="cs-CZ" sz="1600" b="0" i="0" u="none" strike="noStrike" baseline="0" dirty="0">
                <a:solidFill>
                  <a:srgbClr val="000000"/>
                </a:solidFill>
                <a:latin typeface="Calibri" panose="020F0502020204030204" pitchFamily="34" charset="0"/>
              </a:rPr>
              <a:t> </a:t>
            </a:r>
            <a:r>
              <a:rPr lang="cs-CZ" sz="1600" b="0" i="0" u="none" strike="noStrike" baseline="0" dirty="0" err="1">
                <a:solidFill>
                  <a:srgbClr val="000000"/>
                </a:solidFill>
                <a:latin typeface="Calibri" panose="020F0502020204030204" pitchFamily="34" charset="0"/>
              </a:rPr>
              <a:t>Wolter</a:t>
            </a:r>
            <a:r>
              <a:rPr lang="cs-CZ" sz="1600" b="0" i="0" u="none" strike="noStrike" baseline="0" dirty="0">
                <a:solidFill>
                  <a:srgbClr val="000000"/>
                </a:solidFill>
                <a:latin typeface="Calibri" panose="020F0502020204030204" pitchFamily="34" charset="0"/>
              </a:rPr>
              <a:t> et al. </a:t>
            </a:r>
            <a:r>
              <a:rPr lang="en-US" sz="1600" b="0" i="0" u="none" strike="noStrike" baseline="0" dirty="0">
                <a:solidFill>
                  <a:srgbClr val="000000"/>
                </a:solidFill>
                <a:latin typeface="Calibri" panose="020F0502020204030204" pitchFamily="34" charset="0"/>
              </a:rPr>
              <a:t>Centre for Respiratory Diseases and Meningitis, National Institute for Communicable Diseases (NICD) of the National Health Laboratory Service, Johannesburg, South Africa </a:t>
            </a:r>
            <a:endParaRPr lang="en-US" sz="1600" dirty="0"/>
          </a:p>
        </p:txBody>
      </p:sp>
      <p:sp>
        <p:nvSpPr>
          <p:cNvPr id="6" name="TextovéPole 5">
            <a:extLst>
              <a:ext uri="{FF2B5EF4-FFF2-40B4-BE49-F238E27FC236}">
                <a16:creationId xmlns:a16="http://schemas.microsoft.com/office/drawing/2014/main" id="{B55FE880-9B1F-4F14-A98F-1DBFAE8537FF}"/>
              </a:ext>
            </a:extLst>
          </p:cNvPr>
          <p:cNvSpPr txBox="1"/>
          <p:nvPr/>
        </p:nvSpPr>
        <p:spPr>
          <a:xfrm>
            <a:off x="314326" y="4375233"/>
            <a:ext cx="7334250" cy="2031325"/>
          </a:xfrm>
          <a:prstGeom prst="rect">
            <a:avLst/>
          </a:prstGeom>
          <a:noFill/>
        </p:spPr>
        <p:txBody>
          <a:bodyPr wrap="square">
            <a:spAutoFit/>
          </a:bodyPr>
          <a:lstStyle/>
          <a:p>
            <a:r>
              <a:rPr lang="en-US" dirty="0">
                <a:solidFill>
                  <a:srgbClr val="0000FF"/>
                </a:solidFill>
                <a:hlinkClick r:id="rId4"/>
              </a:rPr>
              <a:t>https://www.imperial.ac.uk/mrc-global-infectious-disease-analysis/covid-19/report-50-severity-omicron/</a:t>
            </a:r>
            <a:endParaRPr lang="cs-CZ" dirty="0">
              <a:solidFill>
                <a:srgbClr val="0000FF"/>
              </a:solidFill>
            </a:endParaRPr>
          </a:p>
          <a:p>
            <a:r>
              <a:rPr lang="en-US" b="1" dirty="0"/>
              <a:t>Report 50 - </a:t>
            </a:r>
            <a:r>
              <a:rPr lang="en-US" b="1" dirty="0" err="1"/>
              <a:t>Hospitalisation</a:t>
            </a:r>
            <a:r>
              <a:rPr lang="en-US" b="1" dirty="0"/>
              <a:t> risk for Omicron cases in England</a:t>
            </a:r>
          </a:p>
          <a:p>
            <a:endParaRPr lang="cs-CZ" dirty="0">
              <a:solidFill>
                <a:srgbClr val="0000FF"/>
              </a:solidFill>
            </a:endParaRPr>
          </a:p>
          <a:p>
            <a:r>
              <a:rPr lang="en-US" dirty="0"/>
              <a:t>Neil Ferguson</a:t>
            </a:r>
            <a:r>
              <a:rPr lang="en-US" baseline="30000" dirty="0"/>
              <a:t>1</a:t>
            </a:r>
            <a:r>
              <a:rPr lang="en-US" dirty="0"/>
              <a:t>, Azra Ghani, Wes </a:t>
            </a:r>
            <a:r>
              <a:rPr lang="en-US" dirty="0" err="1"/>
              <a:t>Hinsley</a:t>
            </a:r>
            <a:r>
              <a:rPr lang="en-US" dirty="0"/>
              <a:t> and Erik Volz on behalf of the Imperial College COVID-19 response team </a:t>
            </a:r>
            <a:endParaRPr lang="cs-CZ" dirty="0"/>
          </a:p>
          <a:p>
            <a:endParaRPr lang="en-US" dirty="0">
              <a:solidFill>
                <a:srgbClr val="0000FF"/>
              </a:solidFill>
            </a:endParaRPr>
          </a:p>
        </p:txBody>
      </p:sp>
    </p:spTree>
    <p:extLst>
      <p:ext uri="{BB962C8B-B14F-4D97-AF65-F5344CB8AC3E}">
        <p14:creationId xmlns:p14="http://schemas.microsoft.com/office/powerpoint/2010/main" val="29078785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82273" y="111861"/>
            <a:ext cx="12109728" cy="151180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Reálná data reportovaná z JAR ukazují na vysokou nakažlivost varianty Omikron, vysokou rychlost ve vytlačování varianty Delta, ale nižší smrtnost </a:t>
            </a:r>
          </a:p>
        </p:txBody>
      </p:sp>
      <p:pic>
        <p:nvPicPr>
          <p:cNvPr id="3" name="Obrázek 2">
            <a:extLst>
              <a:ext uri="{FF2B5EF4-FFF2-40B4-BE49-F238E27FC236}">
                <a16:creationId xmlns:a16="http://schemas.microsoft.com/office/drawing/2014/main" id="{2B7C7734-FCCD-41CA-AC49-9CB93D121E0A}"/>
              </a:ext>
            </a:extLst>
          </p:cNvPr>
          <p:cNvPicPr>
            <a:picLocks noChangeAspect="1"/>
          </p:cNvPicPr>
          <p:nvPr/>
        </p:nvPicPr>
        <p:blipFill rotWithShape="1">
          <a:blip r:embed="rId4"/>
          <a:srcRect l="11406" t="18750" r="781" b="27223"/>
          <a:stretch/>
        </p:blipFill>
        <p:spPr>
          <a:xfrm>
            <a:off x="53696" y="1028700"/>
            <a:ext cx="12109729" cy="4191000"/>
          </a:xfrm>
          <a:prstGeom prst="rect">
            <a:avLst/>
          </a:prstGeom>
        </p:spPr>
      </p:pic>
      <p:sp>
        <p:nvSpPr>
          <p:cNvPr id="8" name="Podnadpis 2">
            <a:extLst>
              <a:ext uri="{FF2B5EF4-FFF2-40B4-BE49-F238E27FC236}">
                <a16:creationId xmlns:a16="http://schemas.microsoft.com/office/drawing/2014/main" id="{1863B97A-52A8-41F1-B2D3-400717B7460A}"/>
              </a:ext>
            </a:extLst>
          </p:cNvPr>
          <p:cNvSpPr txBox="1">
            <a:spLocks/>
          </p:cNvSpPr>
          <p:nvPr>
            <p:custDataLst>
              <p:tags r:id="rId2"/>
            </p:custDataLst>
          </p:nvPr>
        </p:nvSpPr>
        <p:spPr>
          <a:xfrm>
            <a:off x="197517" y="5331562"/>
            <a:ext cx="11454063" cy="9454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srgbClr val="FF0000"/>
                </a:solidFill>
                <a:effectLst/>
                <a:uLnTx/>
                <a:uFillTx/>
                <a:latin typeface="Calibri" panose="020F0502020204030204"/>
                <a:ea typeface="+mn-ea"/>
                <a:cs typeface="+mn-cs"/>
              </a:rPr>
              <a:t>Bohužel data z JAR lze jen opatrně extrapolovat pro stárnoucí populaci Evropy … nadto i reporty z JAR ukazují pro Omikron významný růst počtu nových hospitalizací …</a:t>
            </a:r>
          </a:p>
        </p:txBody>
      </p:sp>
      <p:cxnSp>
        <p:nvCxnSpPr>
          <p:cNvPr id="7" name="Přímá spojnice se šipkou 6">
            <a:extLst>
              <a:ext uri="{FF2B5EF4-FFF2-40B4-BE49-F238E27FC236}">
                <a16:creationId xmlns:a16="http://schemas.microsoft.com/office/drawing/2014/main" id="{B51B591A-1274-4BF0-84CC-A5707BB5E9F3}"/>
              </a:ext>
            </a:extLst>
          </p:cNvPr>
          <p:cNvCxnSpPr/>
          <p:nvPr/>
        </p:nvCxnSpPr>
        <p:spPr>
          <a:xfrm flipH="1">
            <a:off x="4229100" y="1028700"/>
            <a:ext cx="2867025" cy="97155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1" name="Přímá spojnice se šipkou 10">
            <a:extLst>
              <a:ext uri="{FF2B5EF4-FFF2-40B4-BE49-F238E27FC236}">
                <a16:creationId xmlns:a16="http://schemas.microsoft.com/office/drawing/2014/main" id="{BEE419E0-D24B-46F3-8F66-51A059821AF1}"/>
              </a:ext>
            </a:extLst>
          </p:cNvPr>
          <p:cNvCxnSpPr>
            <a:cxnSpLocks/>
          </p:cNvCxnSpPr>
          <p:nvPr/>
        </p:nvCxnSpPr>
        <p:spPr>
          <a:xfrm flipH="1">
            <a:off x="9124950" y="1028700"/>
            <a:ext cx="1228725" cy="97155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5" name="Přímá spojnice se šipkou 14">
            <a:extLst>
              <a:ext uri="{FF2B5EF4-FFF2-40B4-BE49-F238E27FC236}">
                <a16:creationId xmlns:a16="http://schemas.microsoft.com/office/drawing/2014/main" id="{94334DD4-F2B3-4D41-B539-D359D3F5BBCA}"/>
              </a:ext>
            </a:extLst>
          </p:cNvPr>
          <p:cNvCxnSpPr>
            <a:cxnSpLocks/>
          </p:cNvCxnSpPr>
          <p:nvPr/>
        </p:nvCxnSpPr>
        <p:spPr>
          <a:xfrm flipH="1" flipV="1">
            <a:off x="5662612" y="3324226"/>
            <a:ext cx="1433513" cy="200733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95202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1" y="216637"/>
            <a:ext cx="12039600"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srgbClr val="FF0000"/>
                </a:solidFill>
                <a:effectLst/>
                <a:uLnTx/>
                <a:uFillTx/>
                <a:latin typeface="Calibri" panose="020F0502020204030204"/>
                <a:ea typeface="+mn-ea"/>
                <a:cs typeface="+mn-cs"/>
              </a:rPr>
              <a:t>V případě varianty Omikron nelze spoléhat na ochranu proděláním nemoci (</a:t>
            </a:r>
            <a:r>
              <a:rPr kumimoji="0" lang="cs-CZ" sz="3400" b="1" i="0" u="none" strike="noStrike" kern="1200" cap="none" spc="0" normalizeH="0" baseline="0" noProof="0" dirty="0" err="1">
                <a:ln>
                  <a:noFill/>
                </a:ln>
                <a:solidFill>
                  <a:srgbClr val="FF0000"/>
                </a:solidFill>
                <a:effectLst/>
                <a:uLnTx/>
                <a:uFillTx/>
                <a:latin typeface="Calibri" panose="020F0502020204030204"/>
                <a:ea typeface="+mn-ea"/>
                <a:cs typeface="+mn-cs"/>
              </a:rPr>
              <a:t>postinfekční</a:t>
            </a:r>
            <a:r>
              <a:rPr kumimoji="0" lang="cs-CZ" sz="3400" b="1" i="0" u="none" strike="noStrike" kern="1200" cap="none" spc="0" normalizeH="0" baseline="0" noProof="0" dirty="0">
                <a:ln>
                  <a:noFill/>
                </a:ln>
                <a:solidFill>
                  <a:srgbClr val="FF0000"/>
                </a:solidFill>
                <a:effectLst/>
                <a:uLnTx/>
                <a:uFillTx/>
                <a:latin typeface="Calibri" panose="020F0502020204030204"/>
                <a:ea typeface="+mn-ea"/>
                <a:cs typeface="+mn-cs"/>
              </a:rPr>
              <a:t> imunita), bude klesat efektivní ochrana vakcín proti nákaze a nebude účinná léčba monoklonálními protilátkami. </a:t>
            </a:r>
          </a:p>
        </p:txBody>
      </p:sp>
      <p:sp>
        <p:nvSpPr>
          <p:cNvPr id="2" name="Šipka: dolů 1">
            <a:extLst>
              <a:ext uri="{FF2B5EF4-FFF2-40B4-BE49-F238E27FC236}">
                <a16:creationId xmlns:a16="http://schemas.microsoft.com/office/drawing/2014/main" id="{2BAF56DD-6BBA-4848-9B74-BC79E10DDC54}"/>
              </a:ext>
            </a:extLst>
          </p:cNvPr>
          <p:cNvSpPr/>
          <p:nvPr/>
        </p:nvSpPr>
        <p:spPr>
          <a:xfrm>
            <a:off x="5119686" y="2678965"/>
            <a:ext cx="1343025" cy="685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EA5DC18E-4165-4E5D-8A30-C9D4CE174837}"/>
              </a:ext>
            </a:extLst>
          </p:cNvPr>
          <p:cNvSpPr txBox="1">
            <a:spLocks/>
          </p:cNvSpPr>
          <p:nvPr>
            <p:custDataLst>
              <p:tags r:id="rId2"/>
            </p:custDataLst>
          </p:nvPr>
        </p:nvSpPr>
        <p:spPr>
          <a:xfrm>
            <a:off x="9525" y="3567195"/>
            <a:ext cx="11832558"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Reduced neutralizing titers to omicron suggests that vaccine effectiveness will be reduced against symptomatic disease</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This also suggests that vaccine will be less effective against transmission</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Even if disease is milder, rapid onslaught of the virus could overwhelm health care systems</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Loss in neutralization by many monoclonals (possible exceptions Vir7831 and DXP-604)</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0D967D19-7F64-4FF3-B10E-D14048AA9F2D}"/>
              </a:ext>
            </a:extLst>
          </p:cNvPr>
          <p:cNvSpPr txBox="1"/>
          <p:nvPr/>
        </p:nvSpPr>
        <p:spPr>
          <a:xfrm>
            <a:off x="4586284" y="2478973"/>
            <a:ext cx="2409825" cy="369332"/>
          </a:xfrm>
          <a:prstGeom prst="rect">
            <a:avLst/>
          </a:prstGeom>
          <a:solidFill>
            <a:srgbClr val="0070C0"/>
          </a:solidFill>
          <a:ln>
            <a:solidFill>
              <a:schemeClr val="accent1">
                <a:lumMod val="60000"/>
                <a:lumOff val="4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WHO </a:t>
            </a:r>
            <a:r>
              <a:rPr kumimoji="0" lang="cs-CZ" sz="1800" b="1" i="0" u="none" strike="noStrike" kern="1200" cap="none" spc="0" normalizeH="0" baseline="0" noProof="0" dirty="0" err="1">
                <a:ln>
                  <a:noFill/>
                </a:ln>
                <a:solidFill>
                  <a:prstClr val="white"/>
                </a:solidFill>
                <a:effectLst/>
                <a:uLnTx/>
                <a:uFillTx/>
                <a:latin typeface="Calibri" panose="020F0502020204030204"/>
                <a:ea typeface="+mn-ea"/>
                <a:cs typeface="+mn-cs"/>
              </a:rPr>
              <a:t>statemen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9BDBBF19-A96B-4BFA-BD2E-9C6F590BDC46}"/>
              </a:ext>
            </a:extLst>
          </p:cNvPr>
          <p:cNvSpPr txBox="1"/>
          <p:nvPr/>
        </p:nvSpPr>
        <p:spPr>
          <a:xfrm>
            <a:off x="615616" y="5850609"/>
            <a:ext cx="1062037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who.int/news-room/events/detail/2021/12/15/default-calendar/who-global-consultation---what-evidence-do-we-have-that-omicron-is-evading-immunity-and-what-are-the-implication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55763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285750" y="216637"/>
            <a:ext cx="11375356" cy="5453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Predikce rizika: ECDC, 15.12. 2021</a:t>
            </a:r>
          </a:p>
        </p:txBody>
      </p:sp>
      <p:pic>
        <p:nvPicPr>
          <p:cNvPr id="3" name="Obrázek 2">
            <a:extLst>
              <a:ext uri="{FF2B5EF4-FFF2-40B4-BE49-F238E27FC236}">
                <a16:creationId xmlns:a16="http://schemas.microsoft.com/office/drawing/2014/main" id="{9E53559E-B8AC-45F2-A61C-C715A599FE96}"/>
              </a:ext>
            </a:extLst>
          </p:cNvPr>
          <p:cNvPicPr>
            <a:picLocks noChangeAspect="1"/>
          </p:cNvPicPr>
          <p:nvPr/>
        </p:nvPicPr>
        <p:blipFill>
          <a:blip r:embed="rId4"/>
          <a:stretch>
            <a:fillRect/>
          </a:stretch>
        </p:blipFill>
        <p:spPr>
          <a:xfrm>
            <a:off x="285750" y="944193"/>
            <a:ext cx="8611330" cy="5378378"/>
          </a:xfrm>
          <a:prstGeom prst="rect">
            <a:avLst/>
          </a:prstGeom>
        </p:spPr>
      </p:pic>
      <p:sp>
        <p:nvSpPr>
          <p:cNvPr id="8" name="Podnadpis 2">
            <a:extLst>
              <a:ext uri="{FF2B5EF4-FFF2-40B4-BE49-F238E27FC236}">
                <a16:creationId xmlns:a16="http://schemas.microsoft.com/office/drawing/2014/main" id="{72F4B1F6-3562-4027-8B05-304F9A7C2D35}"/>
              </a:ext>
            </a:extLst>
          </p:cNvPr>
          <p:cNvSpPr txBox="1">
            <a:spLocks/>
          </p:cNvSpPr>
          <p:nvPr>
            <p:custDataLst>
              <p:tags r:id="rId2"/>
            </p:custDataLst>
          </p:nvPr>
        </p:nvSpPr>
        <p:spPr>
          <a:xfrm>
            <a:off x="8591956" y="1504541"/>
            <a:ext cx="3467100" cy="25456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Omikron s vysokou pravděpodobností převáží v evropské populaci již v prvních týdnech roku 2022. V ČR se Omikron šíří v několika krajích již komunitně. Nejvyšší riziko nese region JMK.  </a:t>
            </a:r>
          </a:p>
        </p:txBody>
      </p:sp>
    </p:spTree>
    <p:extLst>
      <p:ext uri="{BB962C8B-B14F-4D97-AF65-F5344CB8AC3E}">
        <p14:creationId xmlns:p14="http://schemas.microsoft.com/office/powerpoint/2010/main" val="22435610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ovéPole 6">
            <a:extLst>
              <a:ext uri="{FF2B5EF4-FFF2-40B4-BE49-F238E27FC236}">
                <a16:creationId xmlns:a16="http://schemas.microsoft.com/office/drawing/2014/main" id="{19C35C04-DBB7-44FD-BC2D-7D20F692FCC1}"/>
              </a:ext>
            </a:extLst>
          </p:cNvPr>
          <p:cNvSpPr txBox="1"/>
          <p:nvPr>
            <p:custDataLst>
              <p:tags r:id="rId1"/>
            </p:custDataLst>
          </p:nvPr>
        </p:nvSpPr>
        <p:spPr>
          <a:xfrm>
            <a:off x="8437419" y="6209208"/>
            <a:ext cx="36243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600" b="0" i="0" u="none" strike="noStrike" kern="1200" cap="none" spc="0" normalizeH="0" baseline="0" noProof="0" dirty="0" err="1">
                <a:ln>
                  <a:noFill/>
                </a:ln>
                <a:solidFill>
                  <a:srgbClr val="000000"/>
                </a:solidFill>
                <a:effectLst/>
                <a:uLnTx/>
                <a:uFillTx/>
                <a:latin typeface="Arial" panose="020B0604020202020204"/>
                <a:ea typeface="+mn-ea"/>
                <a:cs typeface="+mn-cs"/>
              </a:rPr>
              <a:t>Our</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600" b="0" i="0" u="none" strike="noStrike" kern="1200" cap="none" spc="0" normalizeH="0" baseline="0" noProof="0" dirty="0" err="1">
                <a:ln>
                  <a:noFill/>
                </a:ln>
                <a:solidFill>
                  <a:srgbClr val="000000"/>
                </a:solidFill>
                <a:effectLst/>
                <a:uLnTx/>
                <a:uFillTx/>
                <a:latin typeface="Arial" panose="020B0604020202020204"/>
                <a:ea typeface="+mn-ea"/>
                <a:cs typeface="+mn-cs"/>
              </a:rPr>
              <a:t>World</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in Data, 25.12. 2021</a:t>
            </a:r>
          </a:p>
        </p:txBody>
      </p:sp>
      <p:sp>
        <p:nvSpPr>
          <p:cNvPr id="11" name="Nadpis 2">
            <a:extLst>
              <a:ext uri="{FF2B5EF4-FFF2-40B4-BE49-F238E27FC236}">
                <a16:creationId xmlns:a16="http://schemas.microsoft.com/office/drawing/2014/main" id="{41F8CE96-D020-471F-8379-C7C9D7B219D7}"/>
              </a:ext>
            </a:extLst>
          </p:cNvPr>
          <p:cNvSpPr>
            <a:spLocks noGrp="1"/>
          </p:cNvSpPr>
          <p:nvPr>
            <p:ph type="title"/>
          </p:nvPr>
        </p:nvSpPr>
        <p:spPr>
          <a:xfrm>
            <a:off x="381739" y="2"/>
            <a:ext cx="7464683" cy="673200"/>
          </a:xfrm>
        </p:spPr>
        <p:txBody>
          <a:bodyPr>
            <a:normAutofit/>
          </a:bodyPr>
          <a:lstStyle/>
          <a:p>
            <a:r>
              <a:rPr lang="cs-CZ" sz="2000" dirty="0">
                <a:latin typeface="+mj-lt"/>
              </a:rPr>
              <a:t>Podíl variant ze </a:t>
            </a:r>
            <a:r>
              <a:rPr lang="cs-CZ" sz="2000" dirty="0" err="1">
                <a:latin typeface="+mj-lt"/>
              </a:rPr>
              <a:t>sekvenovaných</a:t>
            </a:r>
            <a:r>
              <a:rPr lang="cs-CZ" sz="2000" dirty="0">
                <a:latin typeface="+mj-lt"/>
              </a:rPr>
              <a:t> vzorků ve vybraných evropských zemích a v JAR </a:t>
            </a:r>
            <a:r>
              <a:rPr lang="cs-CZ" sz="2000" u="sng" dirty="0">
                <a:latin typeface="+mj-lt"/>
              </a:rPr>
              <a:t>k </a:t>
            </a:r>
            <a:r>
              <a:rPr lang="cs-CZ" u="sng" dirty="0">
                <a:latin typeface="+mj-lt"/>
              </a:rPr>
              <a:t>13</a:t>
            </a:r>
            <a:r>
              <a:rPr lang="cs-CZ" sz="2000" u="sng" dirty="0">
                <a:latin typeface="+mj-lt"/>
              </a:rPr>
              <a:t>.12. 2021</a:t>
            </a:r>
          </a:p>
        </p:txBody>
      </p:sp>
      <p:sp>
        <p:nvSpPr>
          <p:cNvPr id="6" name="Zaoblený obdélník 5">
            <a:extLst>
              <a:ext uri="{FF2B5EF4-FFF2-40B4-BE49-F238E27FC236}">
                <a16:creationId xmlns:a16="http://schemas.microsoft.com/office/drawing/2014/main" id="{E604A8E4-2CEB-49B4-B37D-53491319F50E}"/>
              </a:ext>
            </a:extLst>
          </p:cNvPr>
          <p:cNvSpPr/>
          <p:nvPr>
            <p:custDataLst>
              <p:tags r:id="rId2"/>
            </p:custDataLst>
          </p:nvPr>
        </p:nvSpPr>
        <p:spPr>
          <a:xfrm>
            <a:off x="8828333" y="2709333"/>
            <a:ext cx="3156144" cy="3068831"/>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Graf zobrazuje</a:t>
            </a:r>
            <a:r>
              <a:rPr kumimoji="0" lang="cs-CZ" sz="1600" b="1" i="0" u="sng" strike="noStrike" kern="1200" cap="none" spc="0" normalizeH="0" baseline="0" noProof="0" dirty="0">
                <a:ln>
                  <a:noFill/>
                </a:ln>
                <a:solidFill>
                  <a:srgbClr val="000000"/>
                </a:solidFill>
                <a:effectLst/>
                <a:uLnTx/>
                <a:uFillTx/>
                <a:latin typeface="Arial" panose="020B0604020202020204"/>
                <a:ea typeface="+mn-ea"/>
                <a:cs typeface="+mn-cs"/>
              </a:rPr>
              <a:t> podíl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analyzovaných sekvencí v předchozích dvou týdnech, které odpovídají každé variantní skupině.</a:t>
            </a:r>
          </a:p>
        </p:txBody>
      </p:sp>
      <p:sp>
        <p:nvSpPr>
          <p:cNvPr id="8" name="Obdélník 7">
            <a:extLst>
              <a:ext uri="{FF2B5EF4-FFF2-40B4-BE49-F238E27FC236}">
                <a16:creationId xmlns:a16="http://schemas.microsoft.com/office/drawing/2014/main" id="{E7679313-AF77-46A6-B640-74DB701A97FA}"/>
              </a:ext>
            </a:extLst>
          </p:cNvPr>
          <p:cNvSpPr/>
          <p:nvPr/>
        </p:nvSpPr>
        <p:spPr>
          <a:xfrm>
            <a:off x="6812803" y="794936"/>
            <a:ext cx="5248964" cy="7386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Odhad podílu nemusí odrážet úplné složení případů a není reprezentativní , protože pouze zlomek všech případů je </a:t>
            </a:r>
            <a:r>
              <a:rPr kumimoji="0" lang="cs-CZ" sz="1400" b="0" i="1" u="none" strike="noStrike" kern="1200" cap="none" spc="0" normalizeH="0" baseline="0" noProof="0" dirty="0" err="1">
                <a:ln>
                  <a:noFill/>
                </a:ln>
                <a:solidFill>
                  <a:srgbClr val="000000"/>
                </a:solidFill>
                <a:effectLst/>
                <a:uLnTx/>
                <a:uFillTx/>
                <a:latin typeface="Arial" panose="020B0604020202020204"/>
                <a:ea typeface="+mn-ea"/>
                <a:cs typeface="+mn-cs"/>
              </a:rPr>
              <a:t>sekvenován</a:t>
            </a: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 a strategie </a:t>
            </a:r>
            <a:r>
              <a:rPr kumimoji="0" lang="cs-CZ" sz="1400" b="0" i="1" u="none" strike="noStrike" kern="1200" cap="none" spc="0" normalizeH="0" baseline="0" noProof="0" dirty="0" err="1">
                <a:ln>
                  <a:noFill/>
                </a:ln>
                <a:solidFill>
                  <a:srgbClr val="000000"/>
                </a:solidFill>
                <a:effectLst/>
                <a:uLnTx/>
                <a:uFillTx/>
                <a:latin typeface="Arial" panose="020B0604020202020204"/>
                <a:ea typeface="+mn-ea"/>
                <a:cs typeface="+mn-cs"/>
              </a:rPr>
              <a:t>sekvenací</a:t>
            </a: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 se mezi státy významně liší.</a:t>
            </a:r>
          </a:p>
        </p:txBody>
      </p:sp>
      <p:pic>
        <p:nvPicPr>
          <p:cNvPr id="3" name="Obrázek 2">
            <a:extLst>
              <a:ext uri="{FF2B5EF4-FFF2-40B4-BE49-F238E27FC236}">
                <a16:creationId xmlns:a16="http://schemas.microsoft.com/office/drawing/2014/main" id="{94C84A82-8373-4021-B1ED-5372F8AE6BC5}"/>
              </a:ext>
            </a:extLst>
          </p:cNvPr>
          <p:cNvPicPr>
            <a:picLocks noChangeAspect="1"/>
          </p:cNvPicPr>
          <p:nvPr/>
        </p:nvPicPr>
        <p:blipFill>
          <a:blip r:embed="rId4"/>
          <a:stretch>
            <a:fillRect/>
          </a:stretch>
        </p:blipFill>
        <p:spPr>
          <a:xfrm>
            <a:off x="0" y="1533600"/>
            <a:ext cx="8728023" cy="4424027"/>
          </a:xfrm>
          <a:prstGeom prst="rect">
            <a:avLst/>
          </a:prstGeom>
        </p:spPr>
      </p:pic>
      <p:sp>
        <p:nvSpPr>
          <p:cNvPr id="2" name="Šipka: doprava 1">
            <a:extLst>
              <a:ext uri="{FF2B5EF4-FFF2-40B4-BE49-F238E27FC236}">
                <a16:creationId xmlns:a16="http://schemas.microsoft.com/office/drawing/2014/main" id="{8B108F5D-D78C-4214-9443-A8B16AADB389}"/>
              </a:ext>
            </a:extLst>
          </p:cNvPr>
          <p:cNvSpPr/>
          <p:nvPr/>
        </p:nvSpPr>
        <p:spPr>
          <a:xfrm>
            <a:off x="93223" y="4916866"/>
            <a:ext cx="238864"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804296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ovéPole 6">
            <a:extLst>
              <a:ext uri="{FF2B5EF4-FFF2-40B4-BE49-F238E27FC236}">
                <a16:creationId xmlns:a16="http://schemas.microsoft.com/office/drawing/2014/main" id="{19C35C04-DBB7-44FD-BC2D-7D20F692FCC1}"/>
              </a:ext>
            </a:extLst>
          </p:cNvPr>
          <p:cNvSpPr txBox="1"/>
          <p:nvPr>
            <p:custDataLst>
              <p:tags r:id="rId1"/>
            </p:custDataLst>
          </p:nvPr>
        </p:nvSpPr>
        <p:spPr>
          <a:xfrm>
            <a:off x="8437419" y="6209208"/>
            <a:ext cx="36243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600" b="0" i="0" u="none" strike="noStrike" kern="1200" cap="none" spc="0" normalizeH="0" baseline="0" noProof="0" dirty="0" err="1">
                <a:ln>
                  <a:noFill/>
                </a:ln>
                <a:solidFill>
                  <a:srgbClr val="000000"/>
                </a:solidFill>
                <a:effectLst/>
                <a:uLnTx/>
                <a:uFillTx/>
                <a:latin typeface="Arial" panose="020B0604020202020204"/>
                <a:ea typeface="+mn-ea"/>
                <a:cs typeface="+mn-cs"/>
              </a:rPr>
              <a:t>Our</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600" b="0" i="0" u="none" strike="noStrike" kern="1200" cap="none" spc="0" normalizeH="0" baseline="0" noProof="0" dirty="0" err="1">
                <a:ln>
                  <a:noFill/>
                </a:ln>
                <a:solidFill>
                  <a:srgbClr val="000000"/>
                </a:solidFill>
                <a:effectLst/>
                <a:uLnTx/>
                <a:uFillTx/>
                <a:latin typeface="Arial" panose="020B0604020202020204"/>
                <a:ea typeface="+mn-ea"/>
                <a:cs typeface="+mn-cs"/>
              </a:rPr>
              <a:t>World</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in Data, 25.12. 2021</a:t>
            </a:r>
          </a:p>
        </p:txBody>
      </p:sp>
      <p:sp>
        <p:nvSpPr>
          <p:cNvPr id="11" name="Nadpis 2">
            <a:extLst>
              <a:ext uri="{FF2B5EF4-FFF2-40B4-BE49-F238E27FC236}">
                <a16:creationId xmlns:a16="http://schemas.microsoft.com/office/drawing/2014/main" id="{41F8CE96-D020-471F-8379-C7C9D7B219D7}"/>
              </a:ext>
            </a:extLst>
          </p:cNvPr>
          <p:cNvSpPr>
            <a:spLocks noGrp="1"/>
          </p:cNvSpPr>
          <p:nvPr>
            <p:ph type="title"/>
          </p:nvPr>
        </p:nvSpPr>
        <p:spPr>
          <a:xfrm>
            <a:off x="381739" y="2"/>
            <a:ext cx="7464683" cy="673200"/>
          </a:xfrm>
        </p:spPr>
        <p:txBody>
          <a:bodyPr>
            <a:normAutofit/>
          </a:bodyPr>
          <a:lstStyle/>
          <a:p>
            <a:r>
              <a:rPr lang="cs-CZ" sz="2000" dirty="0">
                <a:latin typeface="+mj-lt"/>
              </a:rPr>
              <a:t>Podíl variant ze </a:t>
            </a:r>
            <a:r>
              <a:rPr lang="cs-CZ" sz="2000" dirty="0" err="1">
                <a:latin typeface="+mj-lt"/>
              </a:rPr>
              <a:t>sekvenovaných</a:t>
            </a:r>
            <a:r>
              <a:rPr lang="cs-CZ" sz="2000" dirty="0">
                <a:latin typeface="+mj-lt"/>
              </a:rPr>
              <a:t> vzorků ve vybraných evropských zemích a v JAR </a:t>
            </a:r>
            <a:r>
              <a:rPr lang="cs-CZ" sz="2000" u="sng" dirty="0">
                <a:latin typeface="+mj-lt"/>
              </a:rPr>
              <a:t>k 24.12. 2021</a:t>
            </a:r>
          </a:p>
        </p:txBody>
      </p:sp>
      <p:sp>
        <p:nvSpPr>
          <p:cNvPr id="8" name="Zaoblený obdélník 5">
            <a:extLst>
              <a:ext uri="{FF2B5EF4-FFF2-40B4-BE49-F238E27FC236}">
                <a16:creationId xmlns:a16="http://schemas.microsoft.com/office/drawing/2014/main" id="{19380C45-910B-4530-BC2F-A6753D794094}"/>
              </a:ext>
            </a:extLst>
          </p:cNvPr>
          <p:cNvSpPr/>
          <p:nvPr>
            <p:custDataLst>
              <p:tags r:id="rId2"/>
            </p:custDataLst>
          </p:nvPr>
        </p:nvSpPr>
        <p:spPr>
          <a:xfrm>
            <a:off x="8828333" y="2709333"/>
            <a:ext cx="3156144" cy="3068831"/>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Graf zobrazuje</a:t>
            </a:r>
            <a:r>
              <a:rPr kumimoji="0" lang="cs-CZ" sz="1600" b="1" i="0" u="sng" strike="noStrike" kern="1200" cap="none" spc="0" normalizeH="0" baseline="0" noProof="0" dirty="0">
                <a:ln>
                  <a:noFill/>
                </a:ln>
                <a:solidFill>
                  <a:srgbClr val="000000"/>
                </a:solidFill>
                <a:effectLst/>
                <a:uLnTx/>
                <a:uFillTx/>
                <a:latin typeface="Arial" panose="020B0604020202020204"/>
                <a:ea typeface="+mn-ea"/>
                <a:cs typeface="+mn-cs"/>
              </a:rPr>
              <a:t> podíl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analyzovaných sekvencí v předchozích dvou týdnech, které odpovídají každé variantní skupině.</a:t>
            </a:r>
          </a:p>
        </p:txBody>
      </p:sp>
      <p:pic>
        <p:nvPicPr>
          <p:cNvPr id="3" name="Obrázek 2">
            <a:extLst>
              <a:ext uri="{FF2B5EF4-FFF2-40B4-BE49-F238E27FC236}">
                <a16:creationId xmlns:a16="http://schemas.microsoft.com/office/drawing/2014/main" id="{FB68A84F-0F6E-41E8-88E1-DFA7C5093591}"/>
              </a:ext>
            </a:extLst>
          </p:cNvPr>
          <p:cNvPicPr>
            <a:picLocks noChangeAspect="1"/>
          </p:cNvPicPr>
          <p:nvPr/>
        </p:nvPicPr>
        <p:blipFill>
          <a:blip r:embed="rId4"/>
          <a:stretch>
            <a:fillRect/>
          </a:stretch>
        </p:blipFill>
        <p:spPr>
          <a:xfrm>
            <a:off x="0" y="1533600"/>
            <a:ext cx="8762318" cy="4415454"/>
          </a:xfrm>
          <a:prstGeom prst="rect">
            <a:avLst/>
          </a:prstGeom>
        </p:spPr>
      </p:pic>
      <p:sp>
        <p:nvSpPr>
          <p:cNvPr id="10" name="Šipka: doprava 9">
            <a:extLst>
              <a:ext uri="{FF2B5EF4-FFF2-40B4-BE49-F238E27FC236}">
                <a16:creationId xmlns:a16="http://schemas.microsoft.com/office/drawing/2014/main" id="{A335E204-6F95-475A-BD5B-F7361D468522}"/>
              </a:ext>
            </a:extLst>
          </p:cNvPr>
          <p:cNvSpPr/>
          <p:nvPr/>
        </p:nvSpPr>
        <p:spPr>
          <a:xfrm>
            <a:off x="121798" y="3992941"/>
            <a:ext cx="238864"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bdélník 11">
            <a:extLst>
              <a:ext uri="{FF2B5EF4-FFF2-40B4-BE49-F238E27FC236}">
                <a16:creationId xmlns:a16="http://schemas.microsoft.com/office/drawing/2014/main" id="{ECD3FE54-1CD0-43C4-8A79-0D4773063CBB}"/>
              </a:ext>
            </a:extLst>
          </p:cNvPr>
          <p:cNvSpPr/>
          <p:nvPr/>
        </p:nvSpPr>
        <p:spPr>
          <a:xfrm>
            <a:off x="6812803" y="794936"/>
            <a:ext cx="5248964" cy="7386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Odhad podílu nemusí odrážet úplné složení případů a není reprezentativní , protože pouze zlomek všech případů je </a:t>
            </a:r>
            <a:r>
              <a:rPr kumimoji="0" lang="cs-CZ" sz="1400" b="0" i="1" u="none" strike="noStrike" kern="1200" cap="none" spc="0" normalizeH="0" baseline="0" noProof="0" dirty="0" err="1">
                <a:ln>
                  <a:noFill/>
                </a:ln>
                <a:solidFill>
                  <a:srgbClr val="000000"/>
                </a:solidFill>
                <a:effectLst/>
                <a:uLnTx/>
                <a:uFillTx/>
                <a:latin typeface="Arial" panose="020B0604020202020204"/>
                <a:ea typeface="+mn-ea"/>
                <a:cs typeface="+mn-cs"/>
              </a:rPr>
              <a:t>sekvenován</a:t>
            </a: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 a strategie </a:t>
            </a:r>
            <a:r>
              <a:rPr kumimoji="0" lang="cs-CZ" sz="1400" b="0" i="1" u="none" strike="noStrike" kern="1200" cap="none" spc="0" normalizeH="0" baseline="0" noProof="0" dirty="0" err="1">
                <a:ln>
                  <a:noFill/>
                </a:ln>
                <a:solidFill>
                  <a:srgbClr val="000000"/>
                </a:solidFill>
                <a:effectLst/>
                <a:uLnTx/>
                <a:uFillTx/>
                <a:latin typeface="Arial" panose="020B0604020202020204"/>
                <a:ea typeface="+mn-ea"/>
                <a:cs typeface="+mn-cs"/>
              </a:rPr>
              <a:t>sekvenací</a:t>
            </a: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 se mezi státy významně liší.</a:t>
            </a:r>
          </a:p>
        </p:txBody>
      </p:sp>
    </p:spTree>
    <p:extLst>
      <p:ext uri="{BB962C8B-B14F-4D97-AF65-F5344CB8AC3E}">
        <p14:creationId xmlns:p14="http://schemas.microsoft.com/office/powerpoint/2010/main" val="21626918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6" name="Podnadpis 2">
            <a:extLst>
              <a:ext uri="{FF2B5EF4-FFF2-40B4-BE49-F238E27FC236}">
                <a16:creationId xmlns:a16="http://schemas.microsoft.com/office/drawing/2014/main" id="{36711FF8-0978-46E1-83BC-91CAD64BD107}"/>
              </a:ext>
            </a:extLst>
          </p:cNvPr>
          <p:cNvSpPr>
            <a:spLocks noGrp="1"/>
          </p:cNvSpPr>
          <p:nvPr>
            <p:ph type="subTitle" idx="1"/>
            <p:custDataLst>
              <p:tags r:id="rId2"/>
            </p:custDataLst>
          </p:nvPr>
        </p:nvSpPr>
        <p:spPr>
          <a:xfrm>
            <a:off x="0" y="3693109"/>
            <a:ext cx="12192000" cy="2317166"/>
          </a:xfrm>
        </p:spPr>
        <p:txBody>
          <a:bodyPr>
            <a:normAutofit/>
          </a:bodyPr>
          <a:lstStyle/>
          <a:p>
            <a:r>
              <a:rPr lang="cs-CZ" sz="4800" b="1" dirty="0">
                <a:solidFill>
                  <a:srgbClr val="FF0000"/>
                </a:solidFill>
              </a:rPr>
              <a:t>Negativní zpráva</a:t>
            </a:r>
            <a:r>
              <a:rPr lang="cs-CZ" sz="4600" b="1" i="1" dirty="0">
                <a:solidFill>
                  <a:srgbClr val="FF0000"/>
                </a:solidFill>
              </a:rPr>
              <a:t>:</a:t>
            </a:r>
            <a:r>
              <a:rPr lang="cs-CZ" sz="4600" b="1" i="1" dirty="0">
                <a:solidFill>
                  <a:srgbClr val="0000FF"/>
                </a:solidFill>
              </a:rPr>
              <a:t> </a:t>
            </a:r>
          </a:p>
          <a:p>
            <a:r>
              <a:rPr lang="cs-CZ" sz="4600" b="1" dirty="0"/>
              <a:t>Omikron se v české populaci již silně šíří</a:t>
            </a:r>
            <a:endParaRPr lang="cs-CZ" sz="4800" b="1" dirty="0"/>
          </a:p>
        </p:txBody>
      </p:sp>
    </p:spTree>
    <p:extLst>
      <p:ext uri="{BB962C8B-B14F-4D97-AF65-F5344CB8AC3E}">
        <p14:creationId xmlns:p14="http://schemas.microsoft.com/office/powerpoint/2010/main" val="28389145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381739" y="2"/>
            <a:ext cx="7436164" cy="576000"/>
          </a:xfrm>
        </p:spPr>
        <p:txBody>
          <a:bodyPr/>
          <a:lstStyle/>
          <a:p>
            <a:r>
              <a:rPr lang="cs-CZ" dirty="0"/>
              <a:t>Zátěž regionů ve vzájemném srovnání </a:t>
            </a:r>
            <a:r>
              <a:rPr lang="pl-PL" dirty="0"/>
              <a:t>krajů k 29</a:t>
            </a:r>
            <a:r>
              <a:rPr lang="cs-CZ" dirty="0"/>
              <a:t>. 12.</a:t>
            </a:r>
          </a:p>
        </p:txBody>
      </p:sp>
      <p:sp>
        <p:nvSpPr>
          <p:cNvPr id="12" name="TextovéPole 11">
            <a:extLst>
              <a:ext uri="{FF2B5EF4-FFF2-40B4-BE49-F238E27FC236}">
                <a16:creationId xmlns:a16="http://schemas.microsoft.com/office/drawing/2014/main" id="{0A29EB09-17C8-452F-8EAF-45B003F09D46}"/>
              </a:ext>
            </a:extLst>
          </p:cNvPr>
          <p:cNvSpPr txBox="1"/>
          <p:nvPr>
            <p:custDataLst>
              <p:tags r:id="rId2"/>
            </p:custDataLst>
          </p:nvPr>
        </p:nvSpPr>
        <p:spPr>
          <a:xfrm>
            <a:off x="8228445" y="1800997"/>
            <a:ext cx="3862596"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a:ea typeface="+mn-ea"/>
                <a:cs typeface="+mn-cs"/>
              </a:rPr>
              <a:t>V důsledku vánočního výpadku objemu testů jsou kvantitativní ukazatele stavu epidemie podhodnocené. </a:t>
            </a:r>
            <a:r>
              <a:rPr kumimoji="0" lang="cs-CZ" sz="2200" b="1" i="0" u="none" strike="noStrike" kern="1200" cap="none" spc="0" normalizeH="0" baseline="0" noProof="0" dirty="0">
                <a:ln>
                  <a:noFill/>
                </a:ln>
                <a:solidFill>
                  <a:srgbClr val="FF0000"/>
                </a:solidFill>
                <a:effectLst/>
                <a:uLnTx/>
                <a:uFillTx/>
                <a:latin typeface="Arial" panose="020B0604020202020204"/>
                <a:ea typeface="+mn-ea"/>
                <a:cs typeface="+mn-cs"/>
              </a:rPr>
              <a:t>Nadprůměrná zátěž v Praze a STČ </a:t>
            </a:r>
            <a:r>
              <a:rPr kumimoji="0" lang="cs-CZ" sz="2200" b="1" i="0" u="none" strike="noStrike" kern="1200" cap="none" spc="0" normalizeH="0" baseline="0" noProof="0" dirty="0">
                <a:ln>
                  <a:noFill/>
                </a:ln>
                <a:solidFill>
                  <a:srgbClr val="0000FF"/>
                </a:solidFill>
                <a:effectLst/>
                <a:uLnTx/>
                <a:uFillTx/>
                <a:latin typeface="Arial" panose="020B0604020202020204"/>
                <a:ea typeface="+mn-ea"/>
                <a:cs typeface="+mn-cs"/>
              </a:rPr>
              <a:t>může být signálem zastavení poklesu epidemie (Praha tvoří po Vánocích cca 14% záchytů, společně se STČ cca 29% záchytů). </a:t>
            </a:r>
          </a:p>
        </p:txBody>
      </p:sp>
      <p:graphicFrame>
        <p:nvGraphicFramePr>
          <p:cNvPr id="8" name="Tabulka 1">
            <a:extLst>
              <a:ext uri="{FF2B5EF4-FFF2-40B4-BE49-F238E27FC236}">
                <a16:creationId xmlns:a16="http://schemas.microsoft.com/office/drawing/2014/main" id="{184B6E13-9BFA-4406-B540-3D256C87067E}"/>
              </a:ext>
            </a:extLst>
          </p:cNvPr>
          <p:cNvGraphicFramePr>
            <a:graphicFrameLocks noGrp="1"/>
          </p:cNvGraphicFramePr>
          <p:nvPr>
            <p:custDataLst>
              <p:tags r:id="rId3"/>
            </p:custDataLst>
            <p:extLst>
              <p:ext uri="{D42A27DB-BD31-4B8C-83A1-F6EECF244321}">
                <p14:modId xmlns:p14="http://schemas.microsoft.com/office/powerpoint/2010/main" val="2034462836"/>
              </p:ext>
            </p:extLst>
          </p:nvPr>
        </p:nvGraphicFramePr>
        <p:xfrm>
          <a:off x="285784" y="631607"/>
          <a:ext cx="7436163" cy="5943008"/>
        </p:xfrm>
        <a:graphic>
          <a:graphicData uri="http://schemas.openxmlformats.org/drawingml/2006/table">
            <a:tbl>
              <a:tblPr>
                <a:tableStyleId>{5C22544A-7EE6-4342-B048-85BDC9FD1C3A}</a:tableStyleId>
              </a:tblPr>
              <a:tblGrid>
                <a:gridCol w="2516938">
                  <a:extLst>
                    <a:ext uri="{9D8B030D-6E8A-4147-A177-3AD203B41FA5}">
                      <a16:colId xmlns:a16="http://schemas.microsoft.com/office/drawing/2014/main" val="1104746273"/>
                    </a:ext>
                  </a:extLst>
                </a:gridCol>
                <a:gridCol w="1419333">
                  <a:extLst>
                    <a:ext uri="{9D8B030D-6E8A-4147-A177-3AD203B41FA5}">
                      <a16:colId xmlns:a16="http://schemas.microsoft.com/office/drawing/2014/main" val="2879916102"/>
                    </a:ext>
                  </a:extLst>
                </a:gridCol>
                <a:gridCol w="1749946">
                  <a:extLst>
                    <a:ext uri="{9D8B030D-6E8A-4147-A177-3AD203B41FA5}">
                      <a16:colId xmlns:a16="http://schemas.microsoft.com/office/drawing/2014/main" val="2227094756"/>
                    </a:ext>
                  </a:extLst>
                </a:gridCol>
                <a:gridCol w="1749946">
                  <a:extLst>
                    <a:ext uri="{9D8B030D-6E8A-4147-A177-3AD203B41FA5}">
                      <a16:colId xmlns:a16="http://schemas.microsoft.com/office/drawing/2014/main" val="3762858567"/>
                    </a:ext>
                  </a:extLst>
                </a:gridCol>
              </a:tblGrid>
              <a:tr h="1272293">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ázev kraje</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7denní</a:t>
                      </a: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počet nových případů na 100 tis. obyv.</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14denní</a:t>
                      </a: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počet nových případů na 100 tis. obyv.</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7denní</a:t>
                      </a:r>
                      <a:r>
                        <a:rPr lang="en-US"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b="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lativní</a:t>
                      </a:r>
                      <a:r>
                        <a:rPr lang="en-US"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b="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ozitivita</a:t>
                      </a:r>
                      <a:r>
                        <a:rPr lang="en-US"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b="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dikovaných</a:t>
                      </a:r>
                      <a:r>
                        <a:rPr lang="en-US"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Dg/Epi) </a:t>
                      </a:r>
                      <a:r>
                        <a:rPr lang="en-US" sz="1600" b="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stů</a:t>
                      </a:r>
                      <a:r>
                        <a:rPr lang="en-US"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v %</a:t>
                      </a:r>
                      <a:endParaRPr lang="cs-CZ" sz="1600" dirty="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7620250"/>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lavní město Praha</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95.7</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02.3</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5.3 % / 7.5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8267304"/>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tředočes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95.4</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98.1</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5.4 % / 10.4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0709433"/>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berec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83.1</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00.6</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9.4 % / 13.3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4998111"/>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Královéhradec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64.2</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54.4</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3.2 % / 10.5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871709"/>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Ústec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59.6</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08.4</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8.7 % / 12.5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0686177"/>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Zlíns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27.5</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12.6</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6.1 % / 11.6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0960626"/>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Kraj Vysočina</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26.6</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99.5</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4.6 % / 13.1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308115121"/>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ardubic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22.3</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16.9</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2.5 % / 10.9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686406672"/>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oravskoslezs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19.5</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98.9</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8.4 % / 10.8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86103521"/>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ihočes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17.8</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45.9</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6.3 % / 12.9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70984813"/>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lomouc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04.8</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26.3</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9.2 % / 13.6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409304550"/>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ihomoravs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95.3</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16.6</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6.9 % / 11.2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114071685"/>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lzeňs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61.7</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06.9</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6.8 % / 11.3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2644618"/>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Karlovarský kraj</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95.4</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95.0</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2.8 % / 9.3 %</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36907440"/>
                  </a:ext>
                </a:extLst>
              </a:tr>
              <a:tr h="311381">
                <a:tc>
                  <a:txBody>
                    <a:bodyPr/>
                    <a:lstStyle/>
                    <a:p>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ČR</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37.7</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00.3</a:t>
                      </a:r>
                      <a:endParaRPr lang="cs-CZ" sz="16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2.5 % / 10.7 %</a:t>
                      </a:r>
                      <a:endParaRPr lang="cs-CZ" sz="1600" dirty="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308880044"/>
                  </a:ext>
                </a:extLst>
              </a:tr>
            </a:tbl>
          </a:graphicData>
        </a:graphic>
      </p:graphicFrame>
      <p:sp>
        <p:nvSpPr>
          <p:cNvPr id="2" name="Šipka: doprava 1">
            <a:extLst>
              <a:ext uri="{FF2B5EF4-FFF2-40B4-BE49-F238E27FC236}">
                <a16:creationId xmlns:a16="http://schemas.microsoft.com/office/drawing/2014/main" id="{4FEC02C5-A443-40A9-AAA3-1E57EF9C1ECD}"/>
              </a:ext>
            </a:extLst>
          </p:cNvPr>
          <p:cNvSpPr/>
          <p:nvPr/>
        </p:nvSpPr>
        <p:spPr>
          <a:xfrm>
            <a:off x="7898860" y="1712069"/>
            <a:ext cx="282102" cy="10505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3402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Nadpis 2">
            <a:extLst>
              <a:ext uri="{FF2B5EF4-FFF2-40B4-BE49-F238E27FC236}">
                <a16:creationId xmlns:a16="http://schemas.microsoft.com/office/drawing/2014/main" id="{41F8CE96-D020-471F-8379-C7C9D7B219D7}"/>
              </a:ext>
            </a:extLst>
          </p:cNvPr>
          <p:cNvSpPr>
            <a:spLocks noGrp="1"/>
          </p:cNvSpPr>
          <p:nvPr>
            <p:ph type="title"/>
          </p:nvPr>
        </p:nvSpPr>
        <p:spPr>
          <a:xfrm>
            <a:off x="381739" y="2"/>
            <a:ext cx="7464683" cy="673200"/>
          </a:xfrm>
        </p:spPr>
        <p:txBody>
          <a:bodyPr>
            <a:normAutofit/>
          </a:bodyPr>
          <a:lstStyle/>
          <a:p>
            <a:r>
              <a:rPr lang="cs-CZ" sz="2000" dirty="0">
                <a:latin typeface="+mj-lt"/>
              </a:rPr>
              <a:t>Vybran</a:t>
            </a:r>
            <a:r>
              <a:rPr lang="cs-CZ" dirty="0">
                <a:latin typeface="+mj-lt"/>
              </a:rPr>
              <a:t>é záchyty </a:t>
            </a:r>
            <a:r>
              <a:rPr lang="cs-CZ" dirty="0" err="1">
                <a:latin typeface="+mj-lt"/>
              </a:rPr>
              <a:t>Omicronu</a:t>
            </a:r>
            <a:r>
              <a:rPr lang="cs-CZ" dirty="0">
                <a:latin typeface="+mj-lt"/>
              </a:rPr>
              <a:t> ze zpráv SZÚ</a:t>
            </a:r>
            <a:endParaRPr lang="cs-CZ" sz="2000" dirty="0">
              <a:latin typeface="+mj-lt"/>
            </a:endParaRPr>
          </a:p>
        </p:txBody>
      </p:sp>
      <p:sp>
        <p:nvSpPr>
          <p:cNvPr id="16" name="Podnadpis 2">
            <a:extLst>
              <a:ext uri="{FF2B5EF4-FFF2-40B4-BE49-F238E27FC236}">
                <a16:creationId xmlns:a16="http://schemas.microsoft.com/office/drawing/2014/main" id="{C0FA7692-BF82-40B0-9ABD-3BEB1AEB4477}"/>
              </a:ext>
            </a:extLst>
          </p:cNvPr>
          <p:cNvSpPr txBox="1">
            <a:spLocks/>
          </p:cNvSpPr>
          <p:nvPr>
            <p:custDataLst>
              <p:tags r:id="rId1"/>
            </p:custDataLst>
          </p:nvPr>
        </p:nvSpPr>
        <p:spPr>
          <a:xfrm>
            <a:off x="5749980" y="1424717"/>
            <a:ext cx="5697390" cy="24955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0000FF"/>
                </a:solidFill>
                <a:effectLst/>
                <a:uLnTx/>
                <a:uFillTx/>
                <a:latin typeface="Calibri" panose="020F0502020204030204"/>
                <a:ea typeface="+mn-ea"/>
                <a:cs typeface="+mn-cs"/>
              </a:rPr>
              <a:t>SZÚ</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0000FF"/>
                </a:solidFill>
                <a:effectLst/>
                <a:uLnTx/>
                <a:uFillTx/>
                <a:latin typeface="Calibri" panose="020F0502020204030204"/>
                <a:ea typeface="+mn-ea"/>
                <a:cs typeface="+mn-cs"/>
              </a:rPr>
              <a:t>Zpráva za období 19.12. – 26.12.: 108 záchytů.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0000FF"/>
                </a:solidFill>
                <a:effectLst/>
                <a:uLnTx/>
                <a:uFillTx/>
                <a:latin typeface="Calibri" panose="020F0502020204030204"/>
                <a:ea typeface="+mn-ea"/>
                <a:cs typeface="+mn-cs"/>
              </a:rPr>
              <a:t>Zpráva za období 21.12. – 28.12.:</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cs-CZ" sz="3000" b="1" dirty="0">
                <a:solidFill>
                  <a:srgbClr val="0000FF"/>
                </a:solidFill>
                <a:latin typeface="Calibri" panose="020F0502020204030204"/>
              </a:rPr>
              <a:t>351 záchytů. </a:t>
            </a:r>
            <a:endParaRPr kumimoji="0" lang="cs-CZ" sz="3000" b="1" i="0" u="none" strike="noStrike" kern="1200" cap="none" spc="0" normalizeH="0" baseline="0" noProof="0" dirty="0">
              <a:ln>
                <a:noFill/>
              </a:ln>
              <a:solidFill>
                <a:srgbClr val="0000FF"/>
              </a:solidFill>
              <a:effectLst/>
              <a:uLnTx/>
              <a:uFillTx/>
              <a:latin typeface="Calibri" panose="020F0502020204030204"/>
              <a:ea typeface="+mn-ea"/>
              <a:cs typeface="+mn-cs"/>
            </a:endParaRPr>
          </a:p>
        </p:txBody>
      </p:sp>
      <p:pic>
        <p:nvPicPr>
          <p:cNvPr id="3" name="Obrázek 2">
            <a:extLst>
              <a:ext uri="{FF2B5EF4-FFF2-40B4-BE49-F238E27FC236}">
                <a16:creationId xmlns:a16="http://schemas.microsoft.com/office/drawing/2014/main" id="{D6C44FF8-E78A-46F5-BF89-E431FDF11E7A}"/>
              </a:ext>
            </a:extLst>
          </p:cNvPr>
          <p:cNvPicPr>
            <a:picLocks noChangeAspect="1"/>
          </p:cNvPicPr>
          <p:nvPr/>
        </p:nvPicPr>
        <p:blipFill rotWithShape="1">
          <a:blip r:embed="rId4"/>
          <a:srcRect r="-953"/>
          <a:stretch/>
        </p:blipFill>
        <p:spPr>
          <a:xfrm>
            <a:off x="481307" y="723310"/>
            <a:ext cx="5151008" cy="6134690"/>
          </a:xfrm>
          <a:prstGeom prst="rect">
            <a:avLst/>
          </a:prstGeom>
        </p:spPr>
      </p:pic>
      <p:sp>
        <p:nvSpPr>
          <p:cNvPr id="7" name="Podnadpis 2">
            <a:extLst>
              <a:ext uri="{FF2B5EF4-FFF2-40B4-BE49-F238E27FC236}">
                <a16:creationId xmlns:a16="http://schemas.microsoft.com/office/drawing/2014/main" id="{E10E83A1-3A78-44B4-9A4F-80C5ACCFE952}"/>
              </a:ext>
            </a:extLst>
          </p:cNvPr>
          <p:cNvSpPr txBox="1">
            <a:spLocks/>
          </p:cNvSpPr>
          <p:nvPr>
            <p:custDataLst>
              <p:tags r:id="rId2"/>
            </p:custDataLst>
          </p:nvPr>
        </p:nvSpPr>
        <p:spPr>
          <a:xfrm>
            <a:off x="5834286" y="4809400"/>
            <a:ext cx="5697390" cy="124776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0000FF"/>
                </a:solidFill>
                <a:effectLst/>
                <a:uLnTx/>
                <a:uFillTx/>
                <a:latin typeface="Calibri" panose="020F0502020204030204"/>
                <a:ea typeface="+mn-ea"/>
                <a:cs typeface="+mn-cs"/>
              </a:rPr>
              <a:t>Šíření v ČR bude velmi rychlé, jak ukazují i modelové odhady </a:t>
            </a:r>
          </a:p>
        </p:txBody>
      </p:sp>
      <p:sp>
        <p:nvSpPr>
          <p:cNvPr id="4" name="Šipka: dolů 3">
            <a:extLst>
              <a:ext uri="{FF2B5EF4-FFF2-40B4-BE49-F238E27FC236}">
                <a16:creationId xmlns:a16="http://schemas.microsoft.com/office/drawing/2014/main" id="{095ACFA9-1FD4-4086-A1BB-DE66B79212B5}"/>
              </a:ext>
            </a:extLst>
          </p:cNvPr>
          <p:cNvSpPr/>
          <p:nvPr/>
        </p:nvSpPr>
        <p:spPr>
          <a:xfrm>
            <a:off x="7625909" y="5914418"/>
            <a:ext cx="972766" cy="680936"/>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67233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aoblený obdélník 5">
            <a:extLst>
              <a:ext uri="{FF2B5EF4-FFF2-40B4-BE49-F238E27FC236}">
                <a16:creationId xmlns:a16="http://schemas.microsoft.com/office/drawing/2014/main" id="{A85A7D49-36D3-4266-8802-2A2C7A4F0D5C}"/>
              </a:ext>
            </a:extLst>
          </p:cNvPr>
          <p:cNvSpPr/>
          <p:nvPr/>
        </p:nvSpPr>
        <p:spPr>
          <a:xfrm>
            <a:off x="8394971" y="1683198"/>
            <a:ext cx="3556238" cy="357209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Výstup modelu:</a:t>
            </a:r>
          </a:p>
          <a:p>
            <a:pPr marL="0" marR="0" lvl="0" indent="0" defTabSz="914400" rtl="0" eaLnBrk="1" fontAlgn="auto" latinLnBrk="0" hangingPunct="1">
              <a:lnSpc>
                <a:spcPct val="100000"/>
              </a:lnSpc>
              <a:spcBef>
                <a:spcPts val="0"/>
              </a:spcBef>
              <a:spcAft>
                <a:spcPts val="0"/>
              </a:spcAft>
              <a:buClrTx/>
              <a:buSzTx/>
              <a:buFontTx/>
              <a:buNone/>
              <a:tabLst/>
              <a:defRPr/>
            </a:pPr>
            <a:r>
              <a:rPr lang="cs-CZ" b="1" dirty="0">
                <a:solidFill>
                  <a:srgbClr val="000000"/>
                </a:solidFill>
                <a:latin typeface="Arial" panose="020B0604020202020204"/>
              </a:rPr>
              <a:t>Od dosažení 10% zastoupení může nová varianta dosáhnout </a:t>
            </a: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řibližně 50 % zastoupení v populaci během 17 dnů (souhrnné reprodukční číslo 1,2). Během dalších 16 dnů dosáhne 90 % zastoupení (souhrnné reprodukční číslo 1,5).</a:t>
            </a:r>
          </a:p>
        </p:txBody>
      </p:sp>
      <p:sp>
        <p:nvSpPr>
          <p:cNvPr id="8" name="TextovéPole 7">
            <a:extLst>
              <a:ext uri="{FF2B5EF4-FFF2-40B4-BE49-F238E27FC236}">
                <a16:creationId xmlns:a16="http://schemas.microsoft.com/office/drawing/2014/main" id="{FB24C33C-ABC4-4656-830F-F233FBF6A8CB}"/>
              </a:ext>
            </a:extLst>
          </p:cNvPr>
          <p:cNvSpPr txBox="1"/>
          <p:nvPr/>
        </p:nvSpPr>
        <p:spPr>
          <a:xfrm>
            <a:off x="251258" y="6368334"/>
            <a:ext cx="1136599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jednodušený model, předpoklad sériového intervalu 5 dní, reprodukční číslo 1,6 vs. 0,80, na počátku 10% zastoupení nové varianty</a:t>
            </a:r>
          </a:p>
        </p:txBody>
      </p:sp>
      <p:sp>
        <p:nvSpPr>
          <p:cNvPr id="3" name="Nadpis 2">
            <a:extLst>
              <a:ext uri="{FF2B5EF4-FFF2-40B4-BE49-F238E27FC236}">
                <a16:creationId xmlns:a16="http://schemas.microsoft.com/office/drawing/2014/main" id="{676DEE4B-6C9D-4EEC-A274-65B0D543421D}"/>
              </a:ext>
            </a:extLst>
          </p:cNvPr>
          <p:cNvSpPr>
            <a:spLocks noGrp="1"/>
          </p:cNvSpPr>
          <p:nvPr>
            <p:ph type="title"/>
          </p:nvPr>
        </p:nvSpPr>
        <p:spPr>
          <a:xfrm>
            <a:off x="91440" y="19456"/>
            <a:ext cx="8303530" cy="576000"/>
          </a:xfrm>
        </p:spPr>
        <p:txBody>
          <a:bodyPr/>
          <a:lstStyle/>
          <a:p>
            <a:r>
              <a:rPr lang="cs-CZ" sz="1800" dirty="0">
                <a:latin typeface="+mj-lt"/>
              </a:rPr>
              <a:t>Zastoupení původní a nové varianty mezi novými případy: model pro ČR</a:t>
            </a:r>
            <a:br>
              <a:rPr lang="cs-CZ" sz="1800" dirty="0">
                <a:latin typeface="+mj-lt"/>
              </a:rPr>
            </a:br>
            <a:r>
              <a:rPr lang="cs-CZ" sz="1800" dirty="0">
                <a:latin typeface="+mj-lt"/>
              </a:rPr>
              <a:t>(</a:t>
            </a:r>
            <a:r>
              <a:rPr lang="cs-CZ" sz="1800" u="sng" dirty="0">
                <a:latin typeface="+mj-lt"/>
              </a:rPr>
              <a:t>předpoklad 2násobného zvýšení reprodukčního čísla</a:t>
            </a:r>
            <a:r>
              <a:rPr lang="cs-CZ" sz="1800" dirty="0">
                <a:latin typeface="+mj-lt"/>
              </a:rPr>
              <a:t>)</a:t>
            </a:r>
          </a:p>
        </p:txBody>
      </p:sp>
      <p:sp>
        <p:nvSpPr>
          <p:cNvPr id="15" name="TextovéPole 14">
            <a:extLst>
              <a:ext uri="{FF2B5EF4-FFF2-40B4-BE49-F238E27FC236}">
                <a16:creationId xmlns:a16="http://schemas.microsoft.com/office/drawing/2014/main" id="{5D476999-5156-4A13-AE54-27EE3F461A16}"/>
              </a:ext>
            </a:extLst>
          </p:cNvPr>
          <p:cNvSpPr txBox="1"/>
          <p:nvPr/>
        </p:nvSpPr>
        <p:spPr>
          <a:xfrm>
            <a:off x="91440" y="1019906"/>
            <a:ext cx="1136599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Modelový scénář: 1000 nových případů v prvním dni pozorování</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000000"/>
                </a:solidFill>
                <a:effectLst/>
                <a:uLnTx/>
                <a:uFillTx/>
                <a:latin typeface="Arial" panose="020B0604020202020204"/>
                <a:ea typeface="+mn-ea"/>
                <a:cs typeface="+mn-cs"/>
              </a:rPr>
              <a:t>modelov</a:t>
            </a: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ě předpoklad 20.12.</a:t>
            </a: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7" name="Obrázek 6">
            <a:extLst>
              <a:ext uri="{FF2B5EF4-FFF2-40B4-BE49-F238E27FC236}">
                <a16:creationId xmlns:a16="http://schemas.microsoft.com/office/drawing/2014/main" id="{92CD3891-B226-47E0-AF61-0022E2D88103}"/>
              </a:ext>
            </a:extLst>
          </p:cNvPr>
          <p:cNvPicPr>
            <a:picLocks noChangeAspect="1"/>
          </p:cNvPicPr>
          <p:nvPr/>
        </p:nvPicPr>
        <p:blipFill>
          <a:blip r:embed="rId3"/>
          <a:stretch>
            <a:fillRect/>
          </a:stretch>
        </p:blipFill>
        <p:spPr>
          <a:xfrm>
            <a:off x="371475" y="1493278"/>
            <a:ext cx="7920000" cy="4784560"/>
          </a:xfrm>
          <a:prstGeom prst="rect">
            <a:avLst/>
          </a:prstGeom>
        </p:spPr>
      </p:pic>
      <p:sp>
        <p:nvSpPr>
          <p:cNvPr id="9" name="TextovéPole 8">
            <a:extLst>
              <a:ext uri="{FF2B5EF4-FFF2-40B4-BE49-F238E27FC236}">
                <a16:creationId xmlns:a16="http://schemas.microsoft.com/office/drawing/2014/main" id="{327E5C8D-5723-4B6D-BFC0-82CCF8CC692E}"/>
              </a:ext>
            </a:extLst>
          </p:cNvPr>
          <p:cNvSpPr txBox="1"/>
          <p:nvPr/>
        </p:nvSpPr>
        <p:spPr>
          <a:xfrm>
            <a:off x="8505501" y="5345784"/>
            <a:ext cx="35562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effectLst/>
                <a:uLnTx/>
                <a:uFillTx/>
                <a:latin typeface="Arial" panose="020B0604020202020204"/>
                <a:ea typeface="+mn-ea"/>
                <a:cs typeface="+mn-cs"/>
              </a:rPr>
              <a:t>Poznámka: jde o výstup z modelu - ve skutečné populaci dojde ke tlumení přenosu dalšími faktory</a:t>
            </a:r>
          </a:p>
        </p:txBody>
      </p:sp>
    </p:spTree>
    <p:extLst>
      <p:ext uri="{BB962C8B-B14F-4D97-AF65-F5344CB8AC3E}">
        <p14:creationId xmlns:p14="http://schemas.microsoft.com/office/powerpoint/2010/main" val="22527060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a:extLst>
              <a:ext uri="{FF2B5EF4-FFF2-40B4-BE49-F238E27FC236}">
                <a16:creationId xmlns:a16="http://schemas.microsoft.com/office/drawing/2014/main" id="{FB24C33C-ABC4-4656-830F-F233FBF6A8CB}"/>
              </a:ext>
            </a:extLst>
          </p:cNvPr>
          <p:cNvSpPr txBox="1"/>
          <p:nvPr/>
        </p:nvSpPr>
        <p:spPr>
          <a:xfrm>
            <a:off x="231161" y="6505870"/>
            <a:ext cx="1136599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jednodušený model, předpoklad sériového intervalu 5 dní, reprodukční číslo 2,0 vs. 0,80, na počátku 10% zastoupení nové varianty</a:t>
            </a:r>
          </a:p>
        </p:txBody>
      </p:sp>
      <p:sp>
        <p:nvSpPr>
          <p:cNvPr id="15" name="TextovéPole 14">
            <a:extLst>
              <a:ext uri="{FF2B5EF4-FFF2-40B4-BE49-F238E27FC236}">
                <a16:creationId xmlns:a16="http://schemas.microsoft.com/office/drawing/2014/main" id="{5D476999-5156-4A13-AE54-27EE3F461A16}"/>
              </a:ext>
            </a:extLst>
          </p:cNvPr>
          <p:cNvSpPr txBox="1"/>
          <p:nvPr/>
        </p:nvSpPr>
        <p:spPr>
          <a:xfrm>
            <a:off x="91440" y="884444"/>
            <a:ext cx="1136599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Modelový scénář: 1000 nových případů v prvním dni pozorování</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000000"/>
                </a:solidFill>
                <a:effectLst/>
                <a:uLnTx/>
                <a:uFillTx/>
                <a:latin typeface="Arial" panose="020B0604020202020204"/>
                <a:ea typeface="+mn-ea"/>
                <a:cs typeface="+mn-cs"/>
              </a:rPr>
              <a:t>modelov</a:t>
            </a: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ě předpoklad 20.12.</a:t>
            </a: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4" name="Obrázek 3">
            <a:extLst>
              <a:ext uri="{FF2B5EF4-FFF2-40B4-BE49-F238E27FC236}">
                <a16:creationId xmlns:a16="http://schemas.microsoft.com/office/drawing/2014/main" id="{64F90739-892C-4EE0-9016-966D0C7F8C2B}"/>
              </a:ext>
            </a:extLst>
          </p:cNvPr>
          <p:cNvPicPr>
            <a:picLocks noChangeAspect="1"/>
          </p:cNvPicPr>
          <p:nvPr/>
        </p:nvPicPr>
        <p:blipFill>
          <a:blip r:embed="rId3"/>
          <a:stretch>
            <a:fillRect/>
          </a:stretch>
        </p:blipFill>
        <p:spPr>
          <a:xfrm>
            <a:off x="372840" y="1493278"/>
            <a:ext cx="7920000" cy="4784560"/>
          </a:xfrm>
          <a:prstGeom prst="rect">
            <a:avLst/>
          </a:prstGeom>
        </p:spPr>
      </p:pic>
      <p:sp>
        <p:nvSpPr>
          <p:cNvPr id="7" name="TextovéPole 6">
            <a:extLst>
              <a:ext uri="{FF2B5EF4-FFF2-40B4-BE49-F238E27FC236}">
                <a16:creationId xmlns:a16="http://schemas.microsoft.com/office/drawing/2014/main" id="{0CAF43C5-58CD-4929-B07A-81E385CC8329}"/>
              </a:ext>
            </a:extLst>
          </p:cNvPr>
          <p:cNvSpPr txBox="1"/>
          <p:nvPr/>
        </p:nvSpPr>
        <p:spPr>
          <a:xfrm>
            <a:off x="8525598" y="5576834"/>
            <a:ext cx="35562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effectLst/>
                <a:uLnTx/>
                <a:uFillTx/>
                <a:latin typeface="Arial" panose="020B0604020202020204"/>
                <a:ea typeface="+mn-ea"/>
                <a:cs typeface="+mn-cs"/>
              </a:rPr>
              <a:t>Poznámka: jde o výstup z modelu - ve skutečné populaci dojde ke tlumení přenosu dalšími faktory</a:t>
            </a:r>
          </a:p>
        </p:txBody>
      </p:sp>
      <p:sp>
        <p:nvSpPr>
          <p:cNvPr id="10" name="Nadpis 2">
            <a:extLst>
              <a:ext uri="{FF2B5EF4-FFF2-40B4-BE49-F238E27FC236}">
                <a16:creationId xmlns:a16="http://schemas.microsoft.com/office/drawing/2014/main" id="{DEFA1EDF-321C-4C84-AF0A-ED55F79DFC52}"/>
              </a:ext>
            </a:extLst>
          </p:cNvPr>
          <p:cNvSpPr>
            <a:spLocks noGrp="1"/>
          </p:cNvSpPr>
          <p:nvPr>
            <p:ph type="title"/>
          </p:nvPr>
        </p:nvSpPr>
        <p:spPr>
          <a:xfrm>
            <a:off x="91440" y="19456"/>
            <a:ext cx="8303530" cy="576000"/>
          </a:xfrm>
        </p:spPr>
        <p:txBody>
          <a:bodyPr/>
          <a:lstStyle/>
          <a:p>
            <a:r>
              <a:rPr lang="cs-CZ" sz="1800" dirty="0">
                <a:latin typeface="+mj-lt"/>
              </a:rPr>
              <a:t>Zastoupení původní a nové varianty mezi novými případy: model pro ČR</a:t>
            </a:r>
            <a:br>
              <a:rPr lang="cs-CZ" sz="1800" dirty="0">
                <a:latin typeface="+mj-lt"/>
              </a:rPr>
            </a:br>
            <a:r>
              <a:rPr lang="cs-CZ" sz="1800" dirty="0">
                <a:latin typeface="+mj-lt"/>
              </a:rPr>
              <a:t>(</a:t>
            </a:r>
            <a:r>
              <a:rPr lang="cs-CZ" sz="1800" u="sng" dirty="0">
                <a:latin typeface="+mj-lt"/>
              </a:rPr>
              <a:t>předpoklad 2,5násobného zvýšení reprodukčního čísla</a:t>
            </a:r>
            <a:r>
              <a:rPr lang="cs-CZ" sz="1800" dirty="0">
                <a:latin typeface="+mj-lt"/>
              </a:rPr>
              <a:t>)</a:t>
            </a:r>
          </a:p>
        </p:txBody>
      </p:sp>
      <p:sp>
        <p:nvSpPr>
          <p:cNvPr id="11" name="Zaoblený obdélník 5">
            <a:extLst>
              <a:ext uri="{FF2B5EF4-FFF2-40B4-BE49-F238E27FC236}">
                <a16:creationId xmlns:a16="http://schemas.microsoft.com/office/drawing/2014/main" id="{B7539896-35CA-423A-B919-B60BF871E8F4}"/>
              </a:ext>
            </a:extLst>
          </p:cNvPr>
          <p:cNvSpPr/>
          <p:nvPr/>
        </p:nvSpPr>
        <p:spPr>
          <a:xfrm>
            <a:off x="8394970" y="1609374"/>
            <a:ext cx="3556238" cy="3853444"/>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Výstup modelu:</a:t>
            </a:r>
          </a:p>
          <a:p>
            <a:pPr marL="0" marR="0" lvl="0" indent="0" defTabSz="914400" rtl="0" eaLnBrk="1" fontAlgn="auto" latinLnBrk="0" hangingPunct="1">
              <a:lnSpc>
                <a:spcPct val="100000"/>
              </a:lnSpc>
              <a:spcBef>
                <a:spcPts val="0"/>
              </a:spcBef>
              <a:spcAft>
                <a:spcPts val="0"/>
              </a:spcAft>
              <a:buClrTx/>
              <a:buSzTx/>
              <a:buFontTx/>
              <a:buNone/>
              <a:tabLst/>
              <a:defRPr/>
            </a:pPr>
            <a:r>
              <a:rPr lang="cs-CZ" b="1" dirty="0">
                <a:solidFill>
                  <a:srgbClr val="000000"/>
                </a:solidFill>
                <a:latin typeface="Arial" panose="020B0604020202020204"/>
              </a:rPr>
              <a:t>Od dosažení 10% zastoupení může nová varianta dosáhnout </a:t>
            </a: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řibližně 50 % zastoupení v populaci během 13 dnů (souhrnné reprodukční číslo 1,4). Během dalších 12 dnů dosáhne 90 % zastoupení (souhrnné reprodukční číslo 1,9).</a:t>
            </a:r>
          </a:p>
        </p:txBody>
      </p:sp>
    </p:spTree>
    <p:extLst>
      <p:ext uri="{BB962C8B-B14F-4D97-AF65-F5344CB8AC3E}">
        <p14:creationId xmlns:p14="http://schemas.microsoft.com/office/powerpoint/2010/main" val="37132223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207043" y="216637"/>
            <a:ext cx="11454063"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Vysoká nakažlivost nové varianty viru může být pro českou populaci velmi riziková, zejména v období počátku roku 2022.</a:t>
            </a:r>
          </a:p>
        </p:txBody>
      </p:sp>
      <p:sp>
        <p:nvSpPr>
          <p:cNvPr id="2" name="Šipka: dolů 1">
            <a:extLst>
              <a:ext uri="{FF2B5EF4-FFF2-40B4-BE49-F238E27FC236}">
                <a16:creationId xmlns:a16="http://schemas.microsoft.com/office/drawing/2014/main" id="{2BAF56DD-6BBA-4848-9B74-BC79E10DDC54}"/>
              </a:ext>
            </a:extLst>
          </p:cNvPr>
          <p:cNvSpPr/>
          <p:nvPr/>
        </p:nvSpPr>
        <p:spPr>
          <a:xfrm>
            <a:off x="5129211" y="1354990"/>
            <a:ext cx="1343025" cy="685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EA5DC18E-4165-4E5D-8A30-C9D4CE174837}"/>
              </a:ext>
            </a:extLst>
          </p:cNvPr>
          <p:cNvSpPr txBox="1">
            <a:spLocks/>
          </p:cNvSpPr>
          <p:nvPr>
            <p:custDataLst>
              <p:tags r:id="rId2"/>
            </p:custDataLst>
          </p:nvPr>
        </p:nvSpPr>
        <p:spPr>
          <a:xfrm>
            <a:off x="207041" y="2247899"/>
            <a:ext cx="11454063"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Dospělá populace stále není dostatečně proočkovaná a v lednu až březnu 2022 dojde k částečnému vyčerpání imunity u dříve očkovaných osob. Vysoce nakažlivý virus tak bude mít velký prostor pro masivní šíření v populaci, které může ještě umocnit jeho schopnost prolamovat post-infekční imunitu. </a:t>
            </a:r>
          </a:p>
        </p:txBody>
      </p:sp>
      <p:sp>
        <p:nvSpPr>
          <p:cNvPr id="8" name="Šipka: dolů 7">
            <a:extLst>
              <a:ext uri="{FF2B5EF4-FFF2-40B4-BE49-F238E27FC236}">
                <a16:creationId xmlns:a16="http://schemas.microsoft.com/office/drawing/2014/main" id="{02617A52-2C97-4D64-A0EB-9A59CB0E7EFD}"/>
              </a:ext>
            </a:extLst>
          </p:cNvPr>
          <p:cNvSpPr/>
          <p:nvPr/>
        </p:nvSpPr>
        <p:spPr>
          <a:xfrm>
            <a:off x="5129210" y="4572000"/>
            <a:ext cx="1343025" cy="685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Podnadpis 2">
            <a:extLst>
              <a:ext uri="{FF2B5EF4-FFF2-40B4-BE49-F238E27FC236}">
                <a16:creationId xmlns:a16="http://schemas.microsoft.com/office/drawing/2014/main" id="{ADF44E88-181E-4A1B-BF3D-4156CDBCD9B0}"/>
              </a:ext>
            </a:extLst>
          </p:cNvPr>
          <p:cNvSpPr txBox="1">
            <a:spLocks/>
          </p:cNvSpPr>
          <p:nvPr>
            <p:custDataLst>
              <p:tags r:id="rId3"/>
            </p:custDataLst>
          </p:nvPr>
        </p:nvSpPr>
        <p:spPr>
          <a:xfrm>
            <a:off x="-91746" y="5331560"/>
            <a:ext cx="11784936"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200" b="1" i="0" u="none" strike="noStrike" kern="1200" cap="none" spc="0" normalizeH="0" baseline="0" noProof="0" dirty="0">
                <a:ln>
                  <a:noFill/>
                </a:ln>
                <a:solidFill>
                  <a:srgbClr val="FF0000"/>
                </a:solidFill>
                <a:effectLst/>
                <a:uLnTx/>
                <a:uFillTx/>
                <a:latin typeface="Calibri" panose="020F0502020204030204"/>
                <a:ea typeface="+mn-ea"/>
                <a:cs typeface="+mn-cs"/>
              </a:rPr>
              <a:t>Existuje riziko velmi rychlého zásahu velké části populace. I při nižší virulenci (pouze předpoklad) by tak nová varianta měla významný zdravotní dopad. </a:t>
            </a:r>
          </a:p>
        </p:txBody>
      </p:sp>
    </p:spTree>
    <p:extLst>
      <p:ext uri="{BB962C8B-B14F-4D97-AF65-F5344CB8AC3E}">
        <p14:creationId xmlns:p14="http://schemas.microsoft.com/office/powerpoint/2010/main" val="23442212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1" y="216637"/>
            <a:ext cx="12039600"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200" b="1" i="0" u="none" strike="noStrike" kern="1200" cap="none" spc="0" normalizeH="0" baseline="0" noProof="0" dirty="0">
                <a:ln>
                  <a:noFill/>
                </a:ln>
                <a:effectLst/>
                <a:uLnTx/>
                <a:uFillTx/>
                <a:latin typeface="Calibri" panose="020F0502020204030204"/>
                <a:ea typeface="+mn-ea"/>
                <a:cs typeface="+mn-cs"/>
              </a:rPr>
              <a:t>V případě varianty Omikron nelze spoléhat na ochranu proděláním nemoci (</a:t>
            </a:r>
            <a:r>
              <a:rPr kumimoji="0" lang="cs-CZ" sz="3200" b="1" i="0" u="none" strike="noStrike" kern="1200" cap="none" spc="0" normalizeH="0" baseline="0" noProof="0" dirty="0" err="1">
                <a:ln>
                  <a:noFill/>
                </a:ln>
                <a:effectLst/>
                <a:uLnTx/>
                <a:uFillTx/>
                <a:latin typeface="Calibri" panose="020F0502020204030204"/>
                <a:ea typeface="+mn-ea"/>
                <a:cs typeface="+mn-cs"/>
              </a:rPr>
              <a:t>postinfekční</a:t>
            </a:r>
            <a:r>
              <a:rPr kumimoji="0" lang="cs-CZ" sz="3200" b="1" i="0" u="none" strike="noStrike" kern="1200" cap="none" spc="0" normalizeH="0" baseline="0" noProof="0" dirty="0">
                <a:ln>
                  <a:noFill/>
                </a:ln>
                <a:effectLst/>
                <a:uLnTx/>
                <a:uFillTx/>
                <a:latin typeface="Calibri" panose="020F0502020204030204"/>
                <a:ea typeface="+mn-ea"/>
                <a:cs typeface="+mn-cs"/>
              </a:rPr>
              <a:t> imunita), bude klesat i ochrana vakcín proti nákaze .. nikoli ale ochrana proti těžkému průběhu nemoci</a:t>
            </a:r>
          </a:p>
        </p:txBody>
      </p:sp>
      <p:sp>
        <p:nvSpPr>
          <p:cNvPr id="7" name="Podnadpis 2">
            <a:extLst>
              <a:ext uri="{FF2B5EF4-FFF2-40B4-BE49-F238E27FC236}">
                <a16:creationId xmlns:a16="http://schemas.microsoft.com/office/drawing/2014/main" id="{EA5DC18E-4165-4E5D-8A30-C9D4CE174837}"/>
              </a:ext>
            </a:extLst>
          </p:cNvPr>
          <p:cNvSpPr txBox="1">
            <a:spLocks/>
          </p:cNvSpPr>
          <p:nvPr>
            <p:custDataLst>
              <p:tags r:id="rId2"/>
            </p:custDataLst>
          </p:nvPr>
        </p:nvSpPr>
        <p:spPr>
          <a:xfrm>
            <a:off x="132706" y="2303105"/>
            <a:ext cx="4818673" cy="12606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Klesne efektivní ochrana dvou-dávkových</a:t>
            </a:r>
            <a:r>
              <a:rPr lang="cs-CZ" dirty="0">
                <a:solidFill>
                  <a:prstClr val="black"/>
                </a:solidFill>
                <a:latin typeface="Calibri" panose="020F0502020204030204"/>
              </a:rPr>
              <a:t> vakcín až na úroveň &lt; 35%; ALE booster dávka ochranu opět navýší až k 70%.  </a:t>
            </a: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Šipka: doprava 3">
            <a:extLst>
              <a:ext uri="{FF2B5EF4-FFF2-40B4-BE49-F238E27FC236}">
                <a16:creationId xmlns:a16="http://schemas.microsoft.com/office/drawing/2014/main" id="{D0934A86-6D83-465F-88DC-2C425A79504E}"/>
              </a:ext>
            </a:extLst>
          </p:cNvPr>
          <p:cNvSpPr/>
          <p:nvPr/>
        </p:nvSpPr>
        <p:spPr>
          <a:xfrm>
            <a:off x="5009747" y="2555490"/>
            <a:ext cx="340468" cy="90467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odnadpis 2">
            <a:extLst>
              <a:ext uri="{FF2B5EF4-FFF2-40B4-BE49-F238E27FC236}">
                <a16:creationId xmlns:a16="http://schemas.microsoft.com/office/drawing/2014/main" id="{3CC70830-1099-44F8-8127-645B065EE25B}"/>
              </a:ext>
            </a:extLst>
          </p:cNvPr>
          <p:cNvSpPr txBox="1">
            <a:spLocks/>
          </p:cNvSpPr>
          <p:nvPr>
            <p:custDataLst>
              <p:tags r:id="rId3"/>
            </p:custDataLst>
          </p:nvPr>
        </p:nvSpPr>
        <p:spPr>
          <a:xfrm>
            <a:off x="5624410" y="1847348"/>
            <a:ext cx="5648122" cy="271636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800" b="0" i="0" u="none" strike="noStrike" kern="1200" cap="none" spc="0" normalizeH="0" baseline="0" noProof="0" dirty="0">
                <a:ln>
                  <a:noFill/>
                </a:ln>
                <a:solidFill>
                  <a:srgbClr val="FF0000"/>
                </a:solidFill>
                <a:effectLst/>
                <a:uLnTx/>
                <a:uFillTx/>
                <a:latin typeface="Calibri" panose="020F0502020204030204"/>
                <a:ea typeface="+mn-ea"/>
                <a:cs typeface="+mn-cs"/>
              </a:rPr>
              <a:t>Až 30% plně očkované populace tak může být k nákaze vnímavé </a:t>
            </a:r>
          </a:p>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800" b="0" i="0" u="none" strike="noStrike" kern="1200" cap="none" spc="0" normalizeH="0" baseline="0" noProof="0" dirty="0">
                <a:ln>
                  <a:noFill/>
                </a:ln>
                <a:solidFill>
                  <a:srgbClr val="FF0000"/>
                </a:solidFill>
                <a:effectLst/>
                <a:uLnTx/>
                <a:uFillTx/>
                <a:latin typeface="Calibri" panose="020F0502020204030204"/>
                <a:ea typeface="+mn-ea"/>
                <a:cs typeface="+mn-cs"/>
              </a:rPr>
              <a:t>+ dalších cca 30 - 50% očkovaných osob bez posilující dávky </a:t>
            </a:r>
            <a:r>
              <a:rPr lang="cs-CZ" dirty="0">
                <a:solidFill>
                  <a:srgbClr val="FF0000"/>
                </a:solidFill>
                <a:latin typeface="Calibri" panose="020F0502020204030204"/>
              </a:rPr>
              <a:t>+ v ČR je stále značná část populace neočkovaná, a ani nechráněná nákazou.</a:t>
            </a:r>
            <a:endParaRPr kumimoji="0" lang="cs-CZ" sz="28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cs-CZ" sz="28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E2B23FB6-32C0-4BB0-94B8-6AD0DACCB9E4}"/>
              </a:ext>
            </a:extLst>
          </p:cNvPr>
          <p:cNvSpPr txBox="1"/>
          <p:nvPr/>
        </p:nvSpPr>
        <p:spPr>
          <a:xfrm>
            <a:off x="11284086" y="2269162"/>
            <a:ext cx="603113" cy="1477328"/>
          </a:xfrm>
          <a:prstGeom prst="rect">
            <a:avLst/>
          </a:prstGeom>
          <a:noFill/>
        </p:spPr>
        <p:txBody>
          <a:bodyPr wrap="square" rtlCol="0">
            <a:spAutoFit/>
          </a:bodyPr>
          <a:lstStyle/>
          <a:p>
            <a:r>
              <a:rPr lang="cs-CZ" sz="9000" dirty="0">
                <a:solidFill>
                  <a:srgbClr val="FF0000"/>
                </a:solidFill>
                <a:latin typeface="Arial Black" panose="020B0A04020102020204" pitchFamily="34" charset="0"/>
              </a:rPr>
              <a:t>!</a:t>
            </a:r>
            <a:endParaRPr lang="en-US" sz="9000" dirty="0">
              <a:solidFill>
                <a:srgbClr val="FF0000"/>
              </a:solidFill>
              <a:latin typeface="Arial Black" panose="020B0A04020102020204" pitchFamily="34" charset="0"/>
            </a:endParaRPr>
          </a:p>
        </p:txBody>
      </p:sp>
      <p:sp>
        <p:nvSpPr>
          <p:cNvPr id="11" name="Podnadpis 2">
            <a:extLst>
              <a:ext uri="{FF2B5EF4-FFF2-40B4-BE49-F238E27FC236}">
                <a16:creationId xmlns:a16="http://schemas.microsoft.com/office/drawing/2014/main" id="{CBB32B86-5F84-47AA-B4F1-6393649D4341}"/>
              </a:ext>
            </a:extLst>
          </p:cNvPr>
          <p:cNvSpPr txBox="1">
            <a:spLocks/>
          </p:cNvSpPr>
          <p:nvPr>
            <p:custDataLst>
              <p:tags r:id="rId4"/>
            </p:custDataLst>
          </p:nvPr>
        </p:nvSpPr>
        <p:spPr>
          <a:xfrm>
            <a:off x="132705" y="5115662"/>
            <a:ext cx="4818673" cy="12606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Vysoká nakažlivost (</a:t>
            </a:r>
            <a:r>
              <a:rPr kumimoji="0" lang="cs-CZ" sz="2800" b="0" i="0" u="none" strike="noStrike" kern="1200" cap="none" spc="0" normalizeH="0" baseline="0" noProof="0" dirty="0" err="1">
                <a:ln>
                  <a:noFill/>
                </a:ln>
                <a:solidFill>
                  <a:prstClr val="black"/>
                </a:solidFill>
                <a:effectLst/>
                <a:uLnTx/>
                <a:uFillTx/>
                <a:latin typeface="Calibri" panose="020F0502020204030204"/>
                <a:ea typeface="+mn-ea"/>
                <a:cs typeface="+mn-cs"/>
              </a:rPr>
              <a:t>doubling</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2800" b="0" i="0" u="none" strike="noStrike" kern="1200" cap="none" spc="0" normalizeH="0" baseline="0" noProof="0" dirty="0" err="1">
                <a:ln>
                  <a:noFill/>
                </a:ln>
                <a:solidFill>
                  <a:prstClr val="black"/>
                </a:solidFill>
                <a:effectLst/>
                <a:uLnTx/>
                <a:uFillTx/>
                <a:latin typeface="Calibri" panose="020F0502020204030204"/>
                <a:ea typeface="+mn-ea"/>
                <a:cs typeface="+mn-cs"/>
              </a:rPr>
              <a:t>time</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 cca 2 – 3 dny) představuje riziko i v případě snížené virulenc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Šipka: doprava 11">
            <a:extLst>
              <a:ext uri="{FF2B5EF4-FFF2-40B4-BE49-F238E27FC236}">
                <a16:creationId xmlns:a16="http://schemas.microsoft.com/office/drawing/2014/main" id="{0261349C-DA86-488E-8863-9A52AE41FDD0}"/>
              </a:ext>
            </a:extLst>
          </p:cNvPr>
          <p:cNvSpPr/>
          <p:nvPr/>
        </p:nvSpPr>
        <p:spPr>
          <a:xfrm>
            <a:off x="4951378" y="5387580"/>
            <a:ext cx="340468" cy="90467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Šipka: doprava 12">
            <a:extLst>
              <a:ext uri="{FF2B5EF4-FFF2-40B4-BE49-F238E27FC236}">
                <a16:creationId xmlns:a16="http://schemas.microsoft.com/office/drawing/2014/main" id="{85949193-87B8-4928-95E6-D3C2C318DF6B}"/>
              </a:ext>
            </a:extLst>
          </p:cNvPr>
          <p:cNvSpPr/>
          <p:nvPr/>
        </p:nvSpPr>
        <p:spPr>
          <a:xfrm rot="5400000">
            <a:off x="7825901" y="4181805"/>
            <a:ext cx="340468" cy="90467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odnadpis 2">
            <a:extLst>
              <a:ext uri="{FF2B5EF4-FFF2-40B4-BE49-F238E27FC236}">
                <a16:creationId xmlns:a16="http://schemas.microsoft.com/office/drawing/2014/main" id="{09DD5AFA-221C-4C5A-8849-956650BD23CF}"/>
              </a:ext>
            </a:extLst>
          </p:cNvPr>
          <p:cNvSpPr txBox="1">
            <a:spLocks/>
          </p:cNvSpPr>
          <p:nvPr>
            <p:custDataLst>
              <p:tags r:id="rId5"/>
            </p:custDataLst>
          </p:nvPr>
        </p:nvSpPr>
        <p:spPr>
          <a:xfrm>
            <a:off x="5496127" y="5031616"/>
            <a:ext cx="5784714" cy="12606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Nemocnice jsou v řadě regionů stále velmi zatížené. V lednu / únoru tak hrozí vysoké riziko eskalace zátěže zdravotnického systému.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15" name="TextovéPole 14">
            <a:extLst>
              <a:ext uri="{FF2B5EF4-FFF2-40B4-BE49-F238E27FC236}">
                <a16:creationId xmlns:a16="http://schemas.microsoft.com/office/drawing/2014/main" id="{707FBD3C-6B01-4C17-B35D-327F8D367535}"/>
              </a:ext>
            </a:extLst>
          </p:cNvPr>
          <p:cNvSpPr txBox="1"/>
          <p:nvPr/>
        </p:nvSpPr>
        <p:spPr>
          <a:xfrm>
            <a:off x="11280841" y="5148801"/>
            <a:ext cx="603113" cy="1477328"/>
          </a:xfrm>
          <a:prstGeom prst="rect">
            <a:avLst/>
          </a:prstGeom>
          <a:noFill/>
        </p:spPr>
        <p:txBody>
          <a:bodyPr wrap="square" rtlCol="0">
            <a:spAutoFit/>
          </a:bodyPr>
          <a:lstStyle/>
          <a:p>
            <a:r>
              <a:rPr lang="cs-CZ" sz="9000" dirty="0">
                <a:solidFill>
                  <a:srgbClr val="FF0000"/>
                </a:solidFill>
                <a:latin typeface="Arial Black" panose="020B0A04020102020204" pitchFamily="34" charset="0"/>
              </a:rPr>
              <a:t>!</a:t>
            </a:r>
            <a:endParaRPr lang="en-US" sz="9000" dirty="0">
              <a:solidFill>
                <a:srgbClr val="FF0000"/>
              </a:solidFill>
              <a:latin typeface="Arial Black" panose="020B0A04020102020204" pitchFamily="34" charset="0"/>
            </a:endParaRPr>
          </a:p>
        </p:txBody>
      </p:sp>
    </p:spTree>
    <p:extLst>
      <p:ext uri="{BB962C8B-B14F-4D97-AF65-F5344CB8AC3E}">
        <p14:creationId xmlns:p14="http://schemas.microsoft.com/office/powerpoint/2010/main" val="38356334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52773" y="0"/>
            <a:ext cx="11886453"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0" cap="none" spc="0" normalizeH="0" baseline="0" noProof="0" dirty="0">
                <a:ln>
                  <a:noFill/>
                </a:ln>
                <a:solidFill>
                  <a:prstClr val="black"/>
                </a:solidFill>
                <a:effectLst/>
                <a:uLnTx/>
                <a:uFillTx/>
                <a:latin typeface="Calibri" panose="020F0502020204030204"/>
                <a:ea typeface="+mn-ea"/>
                <a:cs typeface="+mn-cs"/>
              </a:rPr>
              <a:t>Klíčové ukazatele a rizikové faktory po posouzení vývoje epidemie</a:t>
            </a:r>
            <a:endParaRPr kumimoji="0" lang="cs-CZ" sz="3000" b="0" i="1" u="none" strike="noStrike" kern="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22" name="Tabulka 21">
            <a:extLst>
              <a:ext uri="{FF2B5EF4-FFF2-40B4-BE49-F238E27FC236}">
                <a16:creationId xmlns:a16="http://schemas.microsoft.com/office/drawing/2014/main" id="{0F532DB9-8A49-4532-8F7E-A99DB5C40FA9}"/>
              </a:ext>
            </a:extLst>
          </p:cNvPr>
          <p:cNvGraphicFramePr>
            <a:graphicFrameLocks noGrp="1"/>
          </p:cNvGraphicFramePr>
          <p:nvPr>
            <p:custDataLst>
              <p:tags r:id="rId1"/>
            </p:custDataLst>
          </p:nvPr>
        </p:nvGraphicFramePr>
        <p:xfrm>
          <a:off x="107354" y="1313136"/>
          <a:ext cx="3771899" cy="3850725"/>
        </p:xfrm>
        <a:graphic>
          <a:graphicData uri="http://schemas.openxmlformats.org/drawingml/2006/table">
            <a:tbl>
              <a:tblPr firstRow="1" firstCol="1" bandRow="1">
                <a:tableStyleId>{5C22544A-7EE6-4342-B048-85BDC9FD1C3A}</a:tableStyleId>
              </a:tblPr>
              <a:tblGrid>
                <a:gridCol w="2445346">
                  <a:extLst>
                    <a:ext uri="{9D8B030D-6E8A-4147-A177-3AD203B41FA5}">
                      <a16:colId xmlns:a16="http://schemas.microsoft.com/office/drawing/2014/main" val="1039761853"/>
                    </a:ext>
                  </a:extLst>
                </a:gridCol>
                <a:gridCol w="685800">
                  <a:extLst>
                    <a:ext uri="{9D8B030D-6E8A-4147-A177-3AD203B41FA5}">
                      <a16:colId xmlns:a16="http://schemas.microsoft.com/office/drawing/2014/main" val="3581028306"/>
                    </a:ext>
                  </a:extLst>
                </a:gridCol>
                <a:gridCol w="640753">
                  <a:extLst>
                    <a:ext uri="{9D8B030D-6E8A-4147-A177-3AD203B41FA5}">
                      <a16:colId xmlns:a16="http://schemas.microsoft.com/office/drawing/2014/main" val="2172191408"/>
                    </a:ext>
                  </a:extLst>
                </a:gridCol>
              </a:tblGrid>
              <a:tr h="411117">
                <a:tc>
                  <a:txBody>
                    <a:bodyPr/>
                    <a:lstStyle/>
                    <a:p>
                      <a:pPr marL="0" indent="0" algn="l">
                        <a:lnSpc>
                          <a:spcPct val="107000"/>
                        </a:lnSpc>
                        <a:spcAft>
                          <a:spcPts val="0"/>
                        </a:spcAft>
                      </a:pPr>
                      <a:r>
                        <a:rPr lang="cs-CZ" sz="1200" dirty="0">
                          <a:solidFill>
                            <a:schemeClr val="tx1"/>
                          </a:solidFill>
                          <a:effectLst/>
                        </a:rPr>
                        <a:t>LOGISTIKA</a:t>
                      </a:r>
                      <a:r>
                        <a:rPr lang="en-US" sz="1200" dirty="0">
                          <a:solidFill>
                            <a:schemeClr val="tx1"/>
                          </a:solidFill>
                          <a:effectLst/>
                        </a:rPr>
                        <a:t> &amp; MANAGEMENT</a:t>
                      </a:r>
                      <a:endParaRPr lang="cs-CZ" sz="1200" dirty="0">
                        <a:solidFill>
                          <a:schemeClr val="tx1"/>
                        </a:solidFill>
                        <a:effectLst/>
                      </a:endParaRPr>
                    </a:p>
                    <a:p>
                      <a:pPr marL="0" indent="0" algn="l">
                        <a:lnSpc>
                          <a:spcPct val="107000"/>
                        </a:lnSpc>
                        <a:spcAft>
                          <a:spcPts val="0"/>
                        </a:spcAft>
                      </a:pPr>
                      <a:r>
                        <a:rPr lang="en-US" sz="1200" dirty="0">
                          <a:solidFill>
                            <a:schemeClr val="tx1"/>
                          </a:solidFill>
                          <a:effectLst/>
                        </a:rPr>
                        <a:t>EPIDEMIE</a:t>
                      </a:r>
                      <a:endParaRPr lang="cs-CZ"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en-US" sz="1100" dirty="0" err="1">
                          <a:solidFill>
                            <a:schemeClr val="tx1"/>
                          </a:solidFill>
                          <a:effectLst/>
                        </a:rPr>
                        <a:t>Hodnota</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rend</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izik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481214"/>
                  </a:ext>
                </a:extLst>
              </a:tr>
              <a:tr h="341991">
                <a:tc>
                  <a:txBody>
                    <a:bodyPr/>
                    <a:lstStyle/>
                    <a:p>
                      <a:pPr algn="l" fontAlgn="ctr"/>
                      <a:r>
                        <a:rPr lang="cs-CZ" sz="1100" b="0" i="0" u="none" strike="noStrike" dirty="0">
                          <a:solidFill>
                            <a:srgbClr val="000000"/>
                          </a:solidFill>
                          <a:effectLst/>
                          <a:latin typeface="Arial" panose="020B0604020202020204" pitchFamily="34" charset="0"/>
                        </a:rPr>
                        <a:t>Diskriminační PCR (% z pozitivní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637227092"/>
                  </a:ext>
                </a:extLst>
              </a:tr>
              <a:tr h="341991">
                <a:tc>
                  <a:txBody>
                    <a:bodyPr/>
                    <a:lstStyle/>
                    <a:p>
                      <a:pPr algn="l" fontAlgn="ctr"/>
                      <a:r>
                        <a:rPr lang="cs-CZ" sz="1100" b="0" i="0" u="none" strike="noStrike" dirty="0">
                          <a:solidFill>
                            <a:srgbClr val="000000"/>
                          </a:solidFill>
                          <a:effectLst/>
                          <a:latin typeface="Arial" panose="020B0604020202020204" pitchFamily="34" charset="0"/>
                        </a:rPr>
                        <a:t>Trasované případy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8.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97462542"/>
                  </a:ext>
                </a:extLst>
              </a:tr>
              <a:tr h="341991">
                <a:tc>
                  <a:txBody>
                    <a:bodyPr/>
                    <a:lstStyle/>
                    <a:p>
                      <a:pPr algn="l" fontAlgn="ctr"/>
                      <a:r>
                        <a:rPr lang="cs-CZ" sz="1100" b="0" i="0" u="none" strike="noStrike" dirty="0">
                          <a:solidFill>
                            <a:srgbClr val="000000"/>
                          </a:solidFill>
                          <a:effectLst/>
                          <a:latin typeface="Arial" panose="020B0604020202020204" pitchFamily="34" charset="0"/>
                        </a:rPr>
                        <a:t>Trasování: vyřešené případy z pozitivních do 24h (%; za 7 d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8.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077521848"/>
                  </a:ext>
                </a:extLst>
              </a:tr>
              <a:tr h="341991">
                <a:tc>
                  <a:txBody>
                    <a:bodyPr/>
                    <a:lstStyle/>
                    <a:p>
                      <a:pPr algn="l" fontAlgn="ctr"/>
                      <a:r>
                        <a:rPr lang="cs-CZ" sz="1100" b="0" i="0" u="none" strike="noStrike" dirty="0">
                          <a:solidFill>
                            <a:srgbClr val="000000"/>
                          </a:solidFill>
                          <a:effectLst/>
                          <a:latin typeface="Arial" panose="020B0604020202020204" pitchFamily="34" charset="0"/>
                        </a:rPr>
                        <a:t>Trasování:7denní průměrný počet hlášených kontak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0000"/>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7752783"/>
                  </a:ext>
                </a:extLst>
              </a:tr>
              <a:tr h="34199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100" b="0" i="0" u="none" strike="noStrike" dirty="0">
                          <a:solidFill>
                            <a:schemeClr val="tx1"/>
                          </a:solidFill>
                          <a:effectLst/>
                          <a:latin typeface="Arial" panose="020B0604020202020204" pitchFamily="34" charset="0"/>
                        </a:rPr>
                        <a:t>Ukončené základní očkování: </a:t>
                      </a:r>
                    </a:p>
                    <a:p>
                      <a:pPr marL="0" marR="0" lvl="0" indent="0" algn="l" defTabSz="914400" rtl="0" eaLnBrk="1" fontAlgn="ctr" latinLnBrk="0" hangingPunct="1">
                        <a:lnSpc>
                          <a:spcPct val="100000"/>
                        </a:lnSpc>
                        <a:spcBef>
                          <a:spcPts val="0"/>
                        </a:spcBef>
                        <a:spcAft>
                          <a:spcPts val="0"/>
                        </a:spcAft>
                        <a:buClrTx/>
                        <a:buSzTx/>
                        <a:buFontTx/>
                        <a:buNone/>
                        <a:tabLst/>
                        <a:defRPr/>
                      </a:pPr>
                      <a:r>
                        <a:rPr lang="cs-CZ" sz="1100" b="0" i="0" u="none" strike="noStrike" dirty="0">
                          <a:solidFill>
                            <a:schemeClr val="tx1"/>
                          </a:solidFill>
                          <a:effectLst/>
                          <a:latin typeface="Arial" panose="020B0604020202020204" pitchFamily="34" charset="0"/>
                        </a:rPr>
                        <a:t>populace 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5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dirty="0">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997924369"/>
                  </a:ext>
                </a:extLst>
              </a:tr>
              <a:tr h="34199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100" b="0" i="0" u="none" strike="noStrike" dirty="0">
                          <a:solidFill>
                            <a:schemeClr val="tx1"/>
                          </a:solidFill>
                          <a:effectLst/>
                          <a:latin typeface="Arial" panose="020B0604020202020204" pitchFamily="34" charset="0"/>
                        </a:rPr>
                        <a:t>Ukončené základní očkování:</a:t>
                      </a:r>
                    </a:p>
                    <a:p>
                      <a:pPr marL="0" marR="0" lvl="0" indent="0" algn="l" defTabSz="914400" rtl="0" eaLnBrk="1" fontAlgn="ctr" latinLnBrk="0" hangingPunct="1">
                        <a:lnSpc>
                          <a:spcPct val="100000"/>
                        </a:lnSpc>
                        <a:spcBef>
                          <a:spcPts val="0"/>
                        </a:spcBef>
                        <a:spcAft>
                          <a:spcPts val="0"/>
                        </a:spcAft>
                        <a:buClrTx/>
                        <a:buSzTx/>
                        <a:buFontTx/>
                        <a:buNone/>
                        <a:tabLst/>
                        <a:defRPr/>
                      </a:pPr>
                      <a:r>
                        <a:rPr lang="cs-CZ" sz="1100" b="0" i="0" u="none" strike="noStrike" dirty="0">
                          <a:solidFill>
                            <a:schemeClr val="tx1"/>
                          </a:solidFill>
                          <a:effectLst/>
                          <a:latin typeface="Arial" panose="020B0604020202020204" pitchFamily="34" charset="0"/>
                        </a:rPr>
                        <a:t>populace 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917050462"/>
                  </a:ext>
                </a:extLst>
              </a:tr>
              <a:tr h="341991">
                <a:tc>
                  <a:txBody>
                    <a:bodyPr/>
                    <a:lstStyle/>
                    <a:p>
                      <a:pPr algn="l" fontAlgn="ctr"/>
                      <a:r>
                        <a:rPr lang="cs-CZ" sz="1100" b="0" i="0" u="none" strike="noStrike" dirty="0">
                          <a:solidFill>
                            <a:schemeClr val="tx1"/>
                          </a:solidFill>
                          <a:effectLst/>
                          <a:latin typeface="Arial" panose="020B0604020202020204" pitchFamily="34" charset="0"/>
                        </a:rPr>
                        <a:t>Ukončené základní očkování: </a:t>
                      </a:r>
                    </a:p>
                    <a:p>
                      <a:pPr algn="l" fontAlgn="ctr"/>
                      <a:r>
                        <a:rPr lang="cs-CZ" sz="1100" b="0" i="0" u="none" strike="noStrike" dirty="0">
                          <a:solidFill>
                            <a:schemeClr val="tx1"/>
                          </a:solidFill>
                          <a:effectLst/>
                          <a:latin typeface="Arial" panose="020B0604020202020204" pitchFamily="34" charset="0"/>
                        </a:rPr>
                        <a:t>celá populac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4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0" i="0" u="none" strike="noStrike">
                          <a:solidFill>
                            <a:srgbClr val="000000"/>
                          </a:solidFill>
                          <a:effectLst/>
                          <a:latin typeface="Arial" panose="020B0604020202020204" pitchFamily="34" charset="0"/>
                        </a:rPr>
                        <a:t>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3629135"/>
                  </a:ext>
                </a:extLst>
              </a:tr>
              <a:tr h="341991">
                <a:tc>
                  <a:txBody>
                    <a:bodyPr/>
                    <a:lstStyle/>
                    <a:p>
                      <a:pPr algn="l" fontAlgn="ctr"/>
                      <a:r>
                        <a:rPr lang="cs-CZ" sz="1100" b="0" i="0" u="none" strike="noStrike" dirty="0">
                          <a:solidFill>
                            <a:schemeClr val="tx1"/>
                          </a:solidFill>
                          <a:effectLst/>
                          <a:latin typeface="Arial" panose="020B0604020202020204" pitchFamily="34" charset="0"/>
                        </a:rPr>
                        <a:t>Posilující dávka (% osob, které mají náro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67.5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0" i="0" u="none" strike="noStrike">
                          <a:solidFill>
                            <a:srgbClr val="000000"/>
                          </a:solidFill>
                          <a:effectLst/>
                          <a:latin typeface="Arial" panose="020B0604020202020204" pitchFamily="34" charset="0"/>
                        </a:rPr>
                        <a:t>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41991">
                <a:tc>
                  <a:txBody>
                    <a:bodyPr/>
                    <a:lstStyle/>
                    <a:p>
                      <a:pPr algn="l" fontAlgn="ctr"/>
                      <a:r>
                        <a:rPr lang="cs-CZ" sz="1100" b="0" i="0" u="none" strike="noStrike" dirty="0">
                          <a:solidFill>
                            <a:srgbClr val="000000"/>
                          </a:solidFill>
                          <a:effectLst/>
                          <a:latin typeface="Arial" panose="020B0604020202020204" pitchFamily="34" charset="0"/>
                        </a:rPr>
                        <a:t>7denní počet PCR testů / 100tis. oby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11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0" i="0" u="none" strike="noStrike">
                          <a:solidFill>
                            <a:srgbClr val="000000"/>
                          </a:solidFill>
                          <a:effectLst/>
                          <a:latin typeface="Arial" panose="020B0604020202020204" pitchFamily="34" charset="0"/>
                        </a:rPr>
                        <a:t>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822544"/>
                  </a:ext>
                </a:extLst>
              </a:tr>
              <a:tr h="34199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100" b="0" i="0" u="none" strike="noStrike" dirty="0">
                          <a:solidFill>
                            <a:srgbClr val="000000"/>
                          </a:solidFill>
                          <a:effectLst/>
                          <a:latin typeface="Arial" panose="020B0604020202020204" pitchFamily="34" charset="0"/>
                        </a:rPr>
                        <a:t>7denní počet klinicky a diagnosticky indikovaných PCR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80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0" i="0" u="none" strike="noStrike" dirty="0" err="1">
                          <a:solidFill>
                            <a:srgbClr val="000000"/>
                          </a:solidFill>
                          <a:effectLst/>
                          <a:latin typeface="Arial" panose="020B0604020202020204" pitchFamily="34" charset="0"/>
                        </a:rPr>
                        <a:t>n.s</a:t>
                      </a:r>
                      <a:r>
                        <a:rPr lang="cs-CZ" sz="1600" b="0"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8440519"/>
                  </a:ext>
                </a:extLst>
              </a:tr>
            </a:tbl>
          </a:graphicData>
        </a:graphic>
      </p:graphicFrame>
      <p:graphicFrame>
        <p:nvGraphicFramePr>
          <p:cNvPr id="23" name="Tabulka 22">
            <a:extLst>
              <a:ext uri="{FF2B5EF4-FFF2-40B4-BE49-F238E27FC236}">
                <a16:creationId xmlns:a16="http://schemas.microsoft.com/office/drawing/2014/main" id="{1F94E2A2-209A-4845-812E-17757BC91BEA}"/>
              </a:ext>
            </a:extLst>
          </p:cNvPr>
          <p:cNvGraphicFramePr>
            <a:graphicFrameLocks noGrp="1"/>
          </p:cNvGraphicFramePr>
          <p:nvPr>
            <p:custDataLst>
              <p:tags r:id="rId2"/>
            </p:custDataLst>
          </p:nvPr>
        </p:nvGraphicFramePr>
        <p:xfrm>
          <a:off x="4027940" y="1313135"/>
          <a:ext cx="3886199" cy="3021008"/>
        </p:xfrm>
        <a:graphic>
          <a:graphicData uri="http://schemas.openxmlformats.org/drawingml/2006/table">
            <a:tbl>
              <a:tblPr firstRow="1" firstCol="1" bandRow="1">
                <a:tableStyleId>{5C22544A-7EE6-4342-B048-85BDC9FD1C3A}</a:tableStyleId>
              </a:tblPr>
              <a:tblGrid>
                <a:gridCol w="2638425">
                  <a:extLst>
                    <a:ext uri="{9D8B030D-6E8A-4147-A177-3AD203B41FA5}">
                      <a16:colId xmlns:a16="http://schemas.microsoft.com/office/drawing/2014/main" val="1039761853"/>
                    </a:ext>
                  </a:extLst>
                </a:gridCol>
                <a:gridCol w="657225">
                  <a:extLst>
                    <a:ext uri="{9D8B030D-6E8A-4147-A177-3AD203B41FA5}">
                      <a16:colId xmlns:a16="http://schemas.microsoft.com/office/drawing/2014/main" val="3581028306"/>
                    </a:ext>
                  </a:extLst>
                </a:gridCol>
                <a:gridCol w="590549">
                  <a:extLst>
                    <a:ext uri="{9D8B030D-6E8A-4147-A177-3AD203B41FA5}">
                      <a16:colId xmlns:a16="http://schemas.microsoft.com/office/drawing/2014/main" val="2172191408"/>
                    </a:ext>
                  </a:extLst>
                </a:gridCol>
              </a:tblGrid>
              <a:tr h="470982">
                <a:tc>
                  <a:txBody>
                    <a:bodyPr/>
                    <a:lstStyle/>
                    <a:p>
                      <a:pPr marL="0" indent="0" algn="l">
                        <a:lnSpc>
                          <a:spcPct val="107000"/>
                        </a:lnSpc>
                        <a:spcAft>
                          <a:spcPts val="0"/>
                        </a:spcAft>
                      </a:pPr>
                      <a:r>
                        <a:rPr lang="en-US" sz="1200" dirty="0">
                          <a:solidFill>
                            <a:schemeClr val="tx1"/>
                          </a:solidFill>
                          <a:effectLst/>
                        </a:rPr>
                        <a:t>POPULA</a:t>
                      </a:r>
                      <a:r>
                        <a:rPr lang="cs-CZ" sz="1200" dirty="0">
                          <a:solidFill>
                            <a:schemeClr val="tx1"/>
                          </a:solidFill>
                          <a:effectLst/>
                        </a:rPr>
                        <a:t>ČNÍ UKAZATELE</a:t>
                      </a:r>
                      <a:endParaRPr lang="cs-CZ"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en-US" sz="1100" dirty="0" err="1">
                          <a:solidFill>
                            <a:schemeClr val="tx1"/>
                          </a:solidFill>
                          <a:effectLst/>
                        </a:rPr>
                        <a:t>Hodnota</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rend</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izik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481214"/>
                  </a:ext>
                </a:extLst>
              </a:tr>
              <a:tr h="434220">
                <a:tc>
                  <a:txBody>
                    <a:bodyPr/>
                    <a:lstStyle/>
                    <a:p>
                      <a:pPr algn="l" fontAlgn="ctr"/>
                      <a:r>
                        <a:rPr lang="cs-CZ" sz="1200" b="0" i="0" u="none" strike="noStrike" dirty="0">
                          <a:solidFill>
                            <a:srgbClr val="000000"/>
                          </a:solidFill>
                          <a:effectLst/>
                          <a:latin typeface="Arial" panose="020B0604020202020204" pitchFamily="34" charset="0"/>
                        </a:rPr>
                        <a:t>7denní počet případů/ 100tis. oby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3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949944530"/>
                  </a:ext>
                </a:extLst>
              </a:tr>
              <a:tr h="434220">
                <a:tc>
                  <a:txBody>
                    <a:bodyPr/>
                    <a:lstStyle/>
                    <a:p>
                      <a:pPr algn="l" fontAlgn="ctr"/>
                      <a:r>
                        <a:rPr lang="cs-CZ" sz="1200" b="0" i="0" u="none" strike="noStrike">
                          <a:solidFill>
                            <a:srgbClr val="000000"/>
                          </a:solidFill>
                          <a:effectLst/>
                          <a:latin typeface="Arial" panose="020B0604020202020204" pitchFamily="34" charset="0"/>
                        </a:rPr>
                        <a:t>7denní počet symptomatických případů / 100 tis. oby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39.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665090560"/>
                  </a:ext>
                </a:extLst>
              </a:tr>
              <a:tr h="391790">
                <a:tc>
                  <a:txBody>
                    <a:bodyPr/>
                    <a:lstStyle/>
                    <a:p>
                      <a:pPr algn="l" fontAlgn="ctr"/>
                      <a:r>
                        <a:rPr lang="cs-CZ" sz="1200" b="0" i="0" u="none" strike="noStrike">
                          <a:solidFill>
                            <a:srgbClr val="000000"/>
                          </a:solidFill>
                          <a:effectLst/>
                          <a:latin typeface="Arial" panose="020B0604020202020204" pitchFamily="34" charset="0"/>
                        </a:rPr>
                        <a:t>7denní hodnota 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0.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000000"/>
                          </a:solidFill>
                          <a:effectLst/>
                          <a:latin typeface="Arial" panose="020B060402020202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7227092"/>
                  </a:ext>
                </a:extLst>
              </a:tr>
              <a:tr h="429932">
                <a:tc>
                  <a:txBody>
                    <a:bodyPr/>
                    <a:lstStyle/>
                    <a:p>
                      <a:pPr algn="l" fontAlgn="ctr"/>
                      <a:r>
                        <a:rPr lang="cs-CZ" sz="1200" b="0" i="0" u="none" strike="noStrike">
                          <a:solidFill>
                            <a:srgbClr val="000000"/>
                          </a:solidFill>
                          <a:effectLst/>
                          <a:latin typeface="Arial" panose="020B0604020202020204" pitchFamily="34" charset="0"/>
                        </a:rPr>
                        <a:t>7denní relativní pozitivita (Dg+Epi) indikovaných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97462542"/>
                  </a:ext>
                </a:extLst>
              </a:tr>
              <a:tr h="429932">
                <a:tc>
                  <a:txBody>
                    <a:bodyPr/>
                    <a:lstStyle/>
                    <a:p>
                      <a:pPr algn="l" fontAlgn="ctr"/>
                      <a:r>
                        <a:rPr lang="cs-CZ" sz="1200" b="0" i="0" u="none" strike="noStrike">
                          <a:solidFill>
                            <a:srgbClr val="000000"/>
                          </a:solidFill>
                          <a:effectLst/>
                          <a:latin typeface="Arial" panose="020B0604020202020204" pitchFamily="34" charset="0"/>
                        </a:rPr>
                        <a:t>7denní počet případů 65+/ 100tis. obyv. 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5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077521848"/>
                  </a:ext>
                </a:extLst>
              </a:tr>
              <a:tr h="429932">
                <a:tc>
                  <a:txBody>
                    <a:bodyPr/>
                    <a:lstStyle/>
                    <a:p>
                      <a:pPr algn="l" fontAlgn="ctr"/>
                      <a:r>
                        <a:rPr lang="cs-CZ" sz="1200" b="0" i="0" u="none" strike="noStrike">
                          <a:solidFill>
                            <a:srgbClr val="000000"/>
                          </a:solidFill>
                          <a:effectLst/>
                          <a:latin typeface="Arial" panose="020B0604020202020204" pitchFamily="34" charset="0"/>
                        </a:rPr>
                        <a:t>Relativní pozitivita indikovaných (Dg+Epi) testů 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dirty="0">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277752783"/>
                  </a:ext>
                </a:extLst>
              </a:tr>
            </a:tbl>
          </a:graphicData>
        </a:graphic>
      </p:graphicFrame>
      <p:graphicFrame>
        <p:nvGraphicFramePr>
          <p:cNvPr id="24" name="Tabulka 23">
            <a:extLst>
              <a:ext uri="{FF2B5EF4-FFF2-40B4-BE49-F238E27FC236}">
                <a16:creationId xmlns:a16="http://schemas.microsoft.com/office/drawing/2014/main" id="{7A86019B-54FD-4C3D-9845-0E85E2D3D6B7}"/>
              </a:ext>
            </a:extLst>
          </p:cNvPr>
          <p:cNvGraphicFramePr>
            <a:graphicFrameLocks noGrp="1"/>
          </p:cNvGraphicFramePr>
          <p:nvPr>
            <p:custDataLst>
              <p:tags r:id="rId3"/>
            </p:custDataLst>
          </p:nvPr>
        </p:nvGraphicFramePr>
        <p:xfrm>
          <a:off x="8083409" y="1313136"/>
          <a:ext cx="3886199" cy="3021009"/>
        </p:xfrm>
        <a:graphic>
          <a:graphicData uri="http://schemas.openxmlformats.org/drawingml/2006/table">
            <a:tbl>
              <a:tblPr firstRow="1" firstCol="1" bandRow="1">
                <a:tableStyleId>{5C22544A-7EE6-4342-B048-85BDC9FD1C3A}</a:tableStyleId>
              </a:tblPr>
              <a:tblGrid>
                <a:gridCol w="2611360">
                  <a:extLst>
                    <a:ext uri="{9D8B030D-6E8A-4147-A177-3AD203B41FA5}">
                      <a16:colId xmlns:a16="http://schemas.microsoft.com/office/drawing/2014/main" val="1039761853"/>
                    </a:ext>
                  </a:extLst>
                </a:gridCol>
                <a:gridCol w="646190">
                  <a:extLst>
                    <a:ext uri="{9D8B030D-6E8A-4147-A177-3AD203B41FA5}">
                      <a16:colId xmlns:a16="http://schemas.microsoft.com/office/drawing/2014/main" val="3581028306"/>
                    </a:ext>
                  </a:extLst>
                </a:gridCol>
                <a:gridCol w="628649">
                  <a:extLst>
                    <a:ext uri="{9D8B030D-6E8A-4147-A177-3AD203B41FA5}">
                      <a16:colId xmlns:a16="http://schemas.microsoft.com/office/drawing/2014/main" val="2172191408"/>
                    </a:ext>
                  </a:extLst>
                </a:gridCol>
              </a:tblGrid>
              <a:tr h="449932">
                <a:tc>
                  <a:txBody>
                    <a:bodyPr/>
                    <a:lstStyle/>
                    <a:p>
                      <a:pPr marL="0" indent="0" algn="l">
                        <a:lnSpc>
                          <a:spcPct val="107000"/>
                        </a:lnSpc>
                        <a:spcAft>
                          <a:spcPts val="0"/>
                        </a:spcAft>
                      </a:pPr>
                      <a:r>
                        <a:rPr lang="cs-CZ" sz="1200" dirty="0">
                          <a:solidFill>
                            <a:schemeClr val="tx1"/>
                          </a:solidFill>
                          <a:effectLst/>
                        </a:rPr>
                        <a:t>ZDRAVOTNÍ DOPAD COVID-19</a:t>
                      </a:r>
                      <a:endParaRPr lang="cs-CZ"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en-US" sz="1100" dirty="0" err="1">
                          <a:solidFill>
                            <a:schemeClr val="tx1"/>
                          </a:solidFill>
                          <a:effectLst/>
                        </a:rPr>
                        <a:t>Hodnota</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rend</a:t>
                      </a:r>
                      <a:endPar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cs-CZ"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izik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481214"/>
                  </a:ext>
                </a:extLst>
              </a:tr>
              <a:tr h="367570">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7denní počet nových příjmů do nemocnic / 100tis. oby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2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949944530"/>
                  </a:ext>
                </a:extLst>
              </a:tr>
              <a:tr h="422077">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nových příjmů na JIP (včetně překladů) / 100tis. oby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581261566"/>
                  </a:ext>
                </a:extLst>
              </a:tr>
              <a:tr h="331652">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Dostupná funkční kapacita JIP (% celkové kapacit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1" i="0" u="none" strike="noStrike">
                          <a:solidFill>
                            <a:srgbClr val="FF0000"/>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2222971"/>
                  </a:ext>
                </a:extLst>
              </a:tr>
              <a:tr h="331652">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Hospitalizovaní celkem k danému dni / 100 tis. oby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637227092"/>
                  </a:ext>
                </a:extLst>
              </a:tr>
              <a:tr h="363940">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Hospitalizovaní na JIP k danému dni / 100 tis. oby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97462542"/>
                  </a:ext>
                </a:extLst>
              </a:tr>
              <a:tr h="363940">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Počet pacientů na UPV/ECMO k danému dni / 100 tis. oby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077521848"/>
                  </a:ext>
                </a:extLst>
              </a:tr>
              <a:tr h="363940">
                <a:tc>
                  <a:txBody>
                    <a:bodyPr/>
                    <a:lstStyle/>
                    <a:p>
                      <a:pPr algn="l" fontAlgn="ctr">
                        <a:buClr>
                          <a:srgbClr val="000000"/>
                        </a:buClr>
                        <a:buSzPts val="1200"/>
                        <a:buFont typeface="Arial" panose="020B0604020202020204" pitchFamily="34" charset="0"/>
                        <a:buNone/>
                      </a:pPr>
                      <a:r>
                        <a:rPr lang="cs-CZ" sz="1100" b="0" i="0" u="none" strike="noStrike" dirty="0" err="1">
                          <a:solidFill>
                            <a:srgbClr val="000000"/>
                          </a:solidFill>
                          <a:effectLst/>
                          <a:latin typeface="Arial" panose="020B0604020202020204" pitchFamily="34" charset="0"/>
                        </a:rPr>
                        <a:t>Obložnost</a:t>
                      </a:r>
                      <a:r>
                        <a:rPr lang="cs-CZ" sz="1100" b="0" i="0" u="none" strike="noStrike" dirty="0">
                          <a:solidFill>
                            <a:srgbClr val="000000"/>
                          </a:solidFill>
                          <a:effectLst/>
                          <a:latin typeface="Arial" panose="020B0604020202020204" pitchFamily="34" charset="0"/>
                        </a:rPr>
                        <a:t> JIP pacienty s COVID-19 v % aktuální celkové </a:t>
                      </a:r>
                      <a:r>
                        <a:rPr lang="en-US" sz="1100" b="0" i="0" u="none" strike="noStrike" dirty="0">
                          <a:solidFill>
                            <a:srgbClr val="000000"/>
                          </a:solidFill>
                          <a:effectLst/>
                          <a:latin typeface="Arial" panose="020B0604020202020204" pitchFamily="34" charset="0"/>
                        </a:rPr>
                        <a:t>k</a:t>
                      </a:r>
                      <a:r>
                        <a:rPr lang="cs-CZ" sz="1100" b="0" i="0" u="none" strike="noStrike" dirty="0" err="1">
                          <a:solidFill>
                            <a:srgbClr val="000000"/>
                          </a:solidFill>
                          <a:effectLst/>
                          <a:latin typeface="Arial" panose="020B0604020202020204" pitchFamily="34" charset="0"/>
                        </a:rPr>
                        <a:t>apacity</a:t>
                      </a:r>
                      <a:endParaRPr lang="cs-CZ" sz="11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600" b="1" i="0" u="none" strike="noStrike" dirty="0">
                          <a:solidFill>
                            <a:srgbClr val="FFFFFF"/>
                          </a:solidFill>
                          <a:effectLst/>
                          <a:latin typeface="Arial" panose="020B0604020202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69442261"/>
                  </a:ext>
                </a:extLst>
              </a:tr>
            </a:tbl>
          </a:graphicData>
        </a:graphic>
      </p:graphicFrame>
      <p:sp>
        <p:nvSpPr>
          <p:cNvPr id="26" name="TextovéPole 25">
            <a:extLst>
              <a:ext uri="{FF2B5EF4-FFF2-40B4-BE49-F238E27FC236}">
                <a16:creationId xmlns:a16="http://schemas.microsoft.com/office/drawing/2014/main" id="{915B2B79-3BEF-44FC-A588-61C720C0CBFD}"/>
              </a:ext>
            </a:extLst>
          </p:cNvPr>
          <p:cNvSpPr txBox="1"/>
          <p:nvPr>
            <p:custDataLst>
              <p:tags r:id="rId4"/>
            </p:custDataLst>
          </p:nvPr>
        </p:nvSpPr>
        <p:spPr>
          <a:xfrm>
            <a:off x="121512" y="647308"/>
            <a:ext cx="1295547" cy="369332"/>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28.12. 2021</a:t>
            </a:r>
          </a:p>
        </p:txBody>
      </p:sp>
      <p:sp>
        <p:nvSpPr>
          <p:cNvPr id="9" name="TextovéPole 8">
            <a:extLst>
              <a:ext uri="{FF2B5EF4-FFF2-40B4-BE49-F238E27FC236}">
                <a16:creationId xmlns:a16="http://schemas.microsoft.com/office/drawing/2014/main" id="{1A897995-A06E-40E8-A552-6EE985458E1A}"/>
              </a:ext>
            </a:extLst>
          </p:cNvPr>
          <p:cNvSpPr txBox="1"/>
          <p:nvPr/>
        </p:nvSpPr>
        <p:spPr>
          <a:xfrm>
            <a:off x="3077692" y="5842996"/>
            <a:ext cx="4257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ovéPole 10">
            <a:extLst>
              <a:ext uri="{FF2B5EF4-FFF2-40B4-BE49-F238E27FC236}">
                <a16:creationId xmlns:a16="http://schemas.microsoft.com/office/drawing/2014/main" id="{4B027ACE-6FAB-434A-9D34-20AFEAFDDE19}"/>
              </a:ext>
            </a:extLst>
          </p:cNvPr>
          <p:cNvSpPr txBox="1"/>
          <p:nvPr/>
        </p:nvSpPr>
        <p:spPr>
          <a:xfrm>
            <a:off x="3290554" y="5861102"/>
            <a:ext cx="4257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E82B42D4-E40E-4ED7-AF7E-22E986ED9DD5}"/>
              </a:ext>
            </a:extLst>
          </p:cNvPr>
          <p:cNvSpPr txBox="1"/>
          <p:nvPr/>
        </p:nvSpPr>
        <p:spPr>
          <a:xfrm>
            <a:off x="3085124" y="6178787"/>
            <a:ext cx="303226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Konzistentní trend směrem k rizikovým hodnotám indikátoru (scénář II)</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29BB08CE-A51A-49E7-B70E-AE6DB70183D6}"/>
              </a:ext>
            </a:extLst>
          </p:cNvPr>
          <p:cNvSpPr txBox="1"/>
          <p:nvPr/>
        </p:nvSpPr>
        <p:spPr>
          <a:xfrm>
            <a:off x="6485298" y="5869832"/>
            <a:ext cx="71711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 </a:t>
            </a:r>
            <a:r>
              <a:rPr kumimoji="0" lang="cs-CZ"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lt;</a:t>
            </a:r>
            <a:r>
              <a:rPr kumimoji="0" lang="cs-CZ" sz="18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 !!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1A01E7C4-A7CE-4445-90B4-93DEFA59BB6E}"/>
              </a:ext>
            </a:extLst>
          </p:cNvPr>
          <p:cNvSpPr txBox="1"/>
          <p:nvPr/>
        </p:nvSpPr>
        <p:spPr>
          <a:xfrm>
            <a:off x="6423677" y="6284534"/>
            <a:ext cx="232743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Rizikovost hodnot (scénář II)</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TextovéPole 20">
            <a:extLst>
              <a:ext uri="{FF2B5EF4-FFF2-40B4-BE49-F238E27FC236}">
                <a16:creationId xmlns:a16="http://schemas.microsoft.com/office/drawing/2014/main" id="{03DC762C-26E4-4A97-93EE-8011CAB0E26E}"/>
              </a:ext>
            </a:extLst>
          </p:cNvPr>
          <p:cNvSpPr txBox="1"/>
          <p:nvPr/>
        </p:nvSpPr>
        <p:spPr>
          <a:xfrm>
            <a:off x="-53410" y="5818597"/>
            <a:ext cx="371611"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mn-cs"/>
              </a:rPr>
              <a:t>●</a:t>
            </a:r>
            <a:endParaRPr kumimoji="0" lang="en-US" sz="2200" b="0" i="0" u="none" strike="noStrike" kern="1200" cap="none" spc="0" normalizeH="0" baseline="0" noProof="0" dirty="0">
              <a:ln>
                <a:noFill/>
              </a:ln>
              <a:solidFill>
                <a:srgbClr val="0000FF"/>
              </a:solidFill>
              <a:effectLst/>
              <a:uLnTx/>
              <a:uFillTx/>
              <a:latin typeface="Calibri" panose="020F0502020204030204"/>
              <a:ea typeface="+mn-ea"/>
              <a:cs typeface="+mn-cs"/>
            </a:endParaRPr>
          </a:p>
        </p:txBody>
      </p:sp>
      <p:sp>
        <p:nvSpPr>
          <p:cNvPr id="27" name="TextovéPole 26">
            <a:extLst>
              <a:ext uri="{FF2B5EF4-FFF2-40B4-BE49-F238E27FC236}">
                <a16:creationId xmlns:a16="http://schemas.microsoft.com/office/drawing/2014/main" id="{39867C17-1EB5-45DA-9DE1-003901236E59}"/>
              </a:ext>
            </a:extLst>
          </p:cNvPr>
          <p:cNvSpPr txBox="1"/>
          <p:nvPr/>
        </p:nvSpPr>
        <p:spPr>
          <a:xfrm>
            <a:off x="49953" y="5208753"/>
            <a:ext cx="32406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err="1">
                <a:ln>
                  <a:noFill/>
                </a:ln>
                <a:solidFill>
                  <a:prstClr val="black"/>
                </a:solidFill>
                <a:effectLst/>
                <a:uLnTx/>
                <a:uFillTx/>
                <a:latin typeface="Calibri" panose="020F0502020204030204"/>
                <a:ea typeface="+mn-ea"/>
                <a:cs typeface="+mn-cs"/>
              </a:rPr>
              <a:t>n.s</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není specifikováno (není hodnoceno)</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TextovéPole 27">
            <a:extLst>
              <a:ext uri="{FF2B5EF4-FFF2-40B4-BE49-F238E27FC236}">
                <a16:creationId xmlns:a16="http://schemas.microsoft.com/office/drawing/2014/main" id="{EBEBA949-A53A-4C82-BBBF-B64F0C92515A}"/>
              </a:ext>
            </a:extLst>
          </p:cNvPr>
          <p:cNvSpPr txBox="1"/>
          <p:nvPr/>
        </p:nvSpPr>
        <p:spPr>
          <a:xfrm>
            <a:off x="-40872" y="6167352"/>
            <a:ext cx="333349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FF"/>
                </a:solidFill>
                <a:effectLst/>
                <a:uLnTx/>
                <a:uFillTx/>
                <a:latin typeface="Calibri" panose="020F0502020204030204"/>
                <a:ea typeface="+mn-ea"/>
                <a:cs typeface="+mn-cs"/>
              </a:rPr>
              <a:t>Hodnota indikátoru mimo riziko, bez rizikového trendu (scénář I)</a:t>
            </a:r>
            <a:endParaRPr kumimoji="0" lang="en-US" sz="1400" b="0" i="0" u="none" strike="noStrike" kern="1200" cap="none" spc="0" normalizeH="0" baseline="0" noProof="0" dirty="0">
              <a:ln>
                <a:noFill/>
              </a:ln>
              <a:solidFill>
                <a:srgbClr val="0000FF"/>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D1517A8F-71AD-4F8A-B597-6E4C7CF77FC3}"/>
              </a:ext>
            </a:extLst>
          </p:cNvPr>
          <p:cNvSpPr txBox="1"/>
          <p:nvPr/>
        </p:nvSpPr>
        <p:spPr>
          <a:xfrm>
            <a:off x="9341185" y="5869832"/>
            <a:ext cx="534997" cy="369332"/>
          </a:xfrm>
          <a:prstGeom prst="rect">
            <a:avLst/>
          </a:prstGeom>
          <a:solidFill>
            <a:srgbClr val="FF0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ovéPole 18">
            <a:extLst>
              <a:ext uri="{FF2B5EF4-FFF2-40B4-BE49-F238E27FC236}">
                <a16:creationId xmlns:a16="http://schemas.microsoft.com/office/drawing/2014/main" id="{35199FCE-D8C3-4F85-88F0-66D401D4C862}"/>
              </a:ext>
            </a:extLst>
          </p:cNvPr>
          <p:cNvSpPr txBox="1"/>
          <p:nvPr/>
        </p:nvSpPr>
        <p:spPr>
          <a:xfrm>
            <a:off x="9279432" y="6289211"/>
            <a:ext cx="281552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Vysoce riziková hodnota (scénář III)</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TextovéPole 19">
            <a:extLst>
              <a:ext uri="{FF2B5EF4-FFF2-40B4-BE49-F238E27FC236}">
                <a16:creationId xmlns:a16="http://schemas.microsoft.com/office/drawing/2014/main" id="{EE98F89A-DC4C-45EF-9BDD-44F4B78D8B7E}"/>
              </a:ext>
            </a:extLst>
          </p:cNvPr>
          <p:cNvSpPr txBox="1"/>
          <p:nvPr/>
        </p:nvSpPr>
        <p:spPr>
          <a:xfrm>
            <a:off x="7449276" y="2652990"/>
            <a:ext cx="6162472" cy="369332"/>
          </a:xfrm>
          <a:prstGeom prst="rect">
            <a:avLst/>
          </a:prstGeom>
          <a:noFill/>
        </p:spPr>
        <p:txBody>
          <a:bodyPr wrap="square">
            <a:spAutoFit/>
          </a:bodyPr>
          <a:lstStyle/>
          <a:p>
            <a:r>
              <a:rPr lang="cs-CZ" sz="1800" b="1" i="0" u="none" strike="noStrike" dirty="0">
                <a:solidFill>
                  <a:srgbClr val="305496"/>
                </a:solidFill>
                <a:effectLst/>
                <a:latin typeface="Arial" panose="020B0604020202020204" pitchFamily="34" charset="0"/>
              </a:rPr>
              <a:t>●</a:t>
            </a:r>
            <a:endParaRPr lang="en-US" dirty="0"/>
          </a:p>
        </p:txBody>
      </p:sp>
      <p:sp>
        <p:nvSpPr>
          <p:cNvPr id="25" name="Podnadpis 2">
            <a:extLst>
              <a:ext uri="{FF2B5EF4-FFF2-40B4-BE49-F238E27FC236}">
                <a16:creationId xmlns:a16="http://schemas.microsoft.com/office/drawing/2014/main" id="{9885AC0E-FD43-4DA7-8939-E0710427EFC2}"/>
              </a:ext>
            </a:extLst>
          </p:cNvPr>
          <p:cNvSpPr txBox="1">
            <a:spLocks/>
          </p:cNvSpPr>
          <p:nvPr>
            <p:custDataLst>
              <p:tags r:id="rId5"/>
            </p:custDataLst>
          </p:nvPr>
        </p:nvSpPr>
        <p:spPr>
          <a:xfrm>
            <a:off x="1625877" y="557129"/>
            <a:ext cx="9500461" cy="77127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000" b="1" i="0" u="none" strike="noStrike" kern="1200" cap="none" spc="0" normalizeH="0" baseline="0" noProof="0" dirty="0">
                <a:ln>
                  <a:noFill/>
                </a:ln>
                <a:solidFill>
                  <a:srgbClr val="FF0000"/>
                </a:solidFill>
                <a:effectLst/>
                <a:uLnTx/>
                <a:uFillTx/>
                <a:latin typeface="Calibri" panose="020F0502020204030204"/>
                <a:ea typeface="+mn-ea"/>
                <a:cs typeface="+mn-cs"/>
              </a:rPr>
              <a:t>České nemocnice vstupují do „éry </a:t>
            </a:r>
            <a:r>
              <a:rPr kumimoji="0" lang="cs-CZ" sz="2000" b="1" i="0" u="none" strike="noStrike" kern="1200" cap="none" spc="0" normalizeH="0" baseline="0" noProof="0" dirty="0" err="1">
                <a:ln>
                  <a:noFill/>
                </a:ln>
                <a:solidFill>
                  <a:srgbClr val="FF0000"/>
                </a:solidFill>
                <a:effectLst/>
                <a:uLnTx/>
                <a:uFillTx/>
                <a:latin typeface="Calibri" panose="020F0502020204030204"/>
                <a:ea typeface="+mn-ea"/>
                <a:cs typeface="+mn-cs"/>
              </a:rPr>
              <a:t>Omicronu</a:t>
            </a:r>
            <a:r>
              <a:rPr kumimoji="0" lang="cs-CZ" sz="2000" b="1" i="0" u="none" strike="noStrike" kern="1200" cap="none" spc="0" normalizeH="0" baseline="0" noProof="0" dirty="0">
                <a:ln>
                  <a:noFill/>
                </a:ln>
                <a:solidFill>
                  <a:srgbClr val="FF0000"/>
                </a:solidFill>
                <a:effectLst/>
                <a:uLnTx/>
                <a:uFillTx/>
                <a:latin typeface="Calibri" panose="020F0502020204030204"/>
                <a:ea typeface="+mn-ea"/>
                <a:cs typeface="+mn-cs"/>
              </a:rPr>
              <a:t>“ se stále vysokou zátěží intenzivní péče, která klesá </a:t>
            </a:r>
            <a:r>
              <a:rPr kumimoji="0" lang="cs-CZ" sz="2000" b="1" i="0" u="none" strike="noStrike" kern="1200" cap="none" spc="0" normalizeH="0" baseline="0" noProof="0" dirty="0" err="1">
                <a:ln>
                  <a:noFill/>
                </a:ln>
                <a:solidFill>
                  <a:srgbClr val="FF0000"/>
                </a:solidFill>
                <a:effectLst/>
                <a:uLnTx/>
                <a:uFillTx/>
                <a:latin typeface="Calibri" panose="020F0502020204030204"/>
                <a:ea typeface="+mn-ea"/>
                <a:cs typeface="+mn-cs"/>
              </a:rPr>
              <a:t>velm</a:t>
            </a:r>
            <a:r>
              <a:rPr lang="cs-CZ" sz="2000" b="1" dirty="0">
                <a:solidFill>
                  <a:srgbClr val="FF0000"/>
                </a:solidFill>
                <a:latin typeface="Calibri" panose="020F0502020204030204"/>
              </a:rPr>
              <a:t>i p</a:t>
            </a:r>
            <a:r>
              <a:rPr kumimoji="0" lang="cs-CZ" sz="2000" b="1" i="0" u="none" strike="noStrike" kern="1200" cap="none" spc="0" normalizeH="0" baseline="0" noProof="0" dirty="0" err="1">
                <a:ln>
                  <a:noFill/>
                </a:ln>
                <a:solidFill>
                  <a:srgbClr val="FF0000"/>
                </a:solidFill>
                <a:effectLst/>
                <a:uLnTx/>
                <a:uFillTx/>
                <a:latin typeface="Calibri" panose="020F0502020204030204"/>
                <a:ea typeface="+mn-ea"/>
                <a:cs typeface="+mn-cs"/>
              </a:rPr>
              <a:t>omalu</a:t>
            </a:r>
            <a:r>
              <a:rPr kumimoji="0" lang="cs-CZ" sz="2000" b="1" i="0" u="none" strike="noStrike" kern="1200" cap="none" spc="0" normalizeH="0" baseline="0" noProof="0" dirty="0">
                <a:ln>
                  <a:noFill/>
                </a:ln>
                <a:solidFill>
                  <a:srgbClr val="FF0000"/>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28044932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5FC0918-448C-4034-B0A1-65B8C6FA0526}"/>
              </a:ext>
            </a:extLst>
          </p:cNvPr>
          <p:cNvSpPr>
            <a:spLocks noGrp="1"/>
          </p:cNvSpPr>
          <p:nvPr>
            <p:ph type="title"/>
          </p:nvPr>
        </p:nvSpPr>
        <p:spPr>
          <a:xfrm>
            <a:off x="381740" y="2"/>
            <a:ext cx="6590560" cy="576000"/>
          </a:xfrm>
        </p:spPr>
        <p:txBody>
          <a:bodyPr/>
          <a:lstStyle/>
          <a:p>
            <a:r>
              <a:rPr lang="cs-CZ" dirty="0"/>
              <a:t>Stav očkování obyvatel v ČR k 27. 12. 2021</a:t>
            </a:r>
          </a:p>
        </p:txBody>
      </p:sp>
      <p:sp>
        <p:nvSpPr>
          <p:cNvPr id="11" name="Obdélník 10">
            <a:extLst>
              <a:ext uri="{FF2B5EF4-FFF2-40B4-BE49-F238E27FC236}">
                <a16:creationId xmlns:a16="http://schemas.microsoft.com/office/drawing/2014/main" id="{43DEB4E0-C2B7-4E1B-8422-D7FAF9E7D74B}"/>
              </a:ext>
            </a:extLst>
          </p:cNvPr>
          <p:cNvSpPr/>
          <p:nvPr/>
        </p:nvSpPr>
        <p:spPr>
          <a:xfrm>
            <a:off x="3190753" y="6554824"/>
            <a:ext cx="597631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dat: Centrální rezervační systém; ISIN / COVID-19 - Informační systém infekční nemoci</a:t>
            </a:r>
          </a:p>
        </p:txBody>
      </p:sp>
      <p:graphicFrame>
        <p:nvGraphicFramePr>
          <p:cNvPr id="8" name="Graf 7">
            <a:extLst>
              <a:ext uri="{FF2B5EF4-FFF2-40B4-BE49-F238E27FC236}">
                <a16:creationId xmlns:a16="http://schemas.microsoft.com/office/drawing/2014/main" id="{8EE952BB-7354-4D89-8CC6-6BC3309A3CEC}"/>
              </a:ext>
            </a:extLst>
          </p:cNvPr>
          <p:cNvGraphicFramePr/>
          <p:nvPr/>
        </p:nvGraphicFramePr>
        <p:xfrm>
          <a:off x="133350" y="701213"/>
          <a:ext cx="11837679" cy="5830967"/>
        </p:xfrm>
        <a:graphic>
          <a:graphicData uri="http://schemas.openxmlformats.org/drawingml/2006/chart">
            <c:chart xmlns:c="http://schemas.openxmlformats.org/drawingml/2006/chart" xmlns:r="http://schemas.openxmlformats.org/officeDocument/2006/relationships" r:id="rId2"/>
          </a:graphicData>
        </a:graphic>
      </p:graphicFrame>
      <p:sp>
        <p:nvSpPr>
          <p:cNvPr id="9" name="Obdélník 8">
            <a:extLst>
              <a:ext uri="{FF2B5EF4-FFF2-40B4-BE49-F238E27FC236}">
                <a16:creationId xmlns:a16="http://schemas.microsoft.com/office/drawing/2014/main" id="{A16925BD-8B42-4997-8EF2-01B33424556B}"/>
              </a:ext>
            </a:extLst>
          </p:cNvPr>
          <p:cNvSpPr/>
          <p:nvPr/>
        </p:nvSpPr>
        <p:spPr>
          <a:xfrm>
            <a:off x="1928241" y="608244"/>
            <a:ext cx="865022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Osoby na 100 obyvatel (% populace)</a:t>
            </a:r>
          </a:p>
        </p:txBody>
      </p:sp>
      <p:graphicFrame>
        <p:nvGraphicFramePr>
          <p:cNvPr id="12" name="Tabulka 11">
            <a:extLst>
              <a:ext uri="{FF2B5EF4-FFF2-40B4-BE49-F238E27FC236}">
                <a16:creationId xmlns:a16="http://schemas.microsoft.com/office/drawing/2014/main" id="{ACF933FC-AC8B-4DCF-85AE-AB663C334416}"/>
              </a:ext>
            </a:extLst>
          </p:cNvPr>
          <p:cNvGraphicFramePr>
            <a:graphicFrameLocks noGrp="1"/>
          </p:cNvGraphicFramePr>
          <p:nvPr/>
        </p:nvGraphicFramePr>
        <p:xfrm>
          <a:off x="10896970" y="1587940"/>
          <a:ext cx="900000" cy="4568852"/>
        </p:xfrm>
        <a:graphic>
          <a:graphicData uri="http://schemas.openxmlformats.org/drawingml/2006/table">
            <a:tbl>
              <a:tblPr/>
              <a:tblGrid>
                <a:gridCol w="900000">
                  <a:extLst>
                    <a:ext uri="{9D8B030D-6E8A-4147-A177-3AD203B41FA5}">
                      <a16:colId xmlns:a16="http://schemas.microsoft.com/office/drawing/2014/main" val="2643709246"/>
                    </a:ext>
                  </a:extLst>
                </a:gridCol>
              </a:tblGrid>
              <a:tr h="268756">
                <a:tc>
                  <a:txBody>
                    <a:bodyPr/>
                    <a:lstStyle/>
                    <a:p>
                      <a:pPr algn="ctr" fontAlgn="ctr"/>
                      <a:r>
                        <a:rPr lang="cs-CZ" sz="1100" b="0" i="1" u="none" strike="noStrike">
                          <a:solidFill>
                            <a:srgbClr val="000000"/>
                          </a:solidFill>
                          <a:effectLst/>
                          <a:latin typeface="Calibri" panose="020F0502020204030204" pitchFamily="34" charset="0"/>
                        </a:rPr>
                        <a:t>10 701 7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8468862"/>
                  </a:ext>
                </a:extLst>
              </a:tr>
              <a:tr h="268756">
                <a:tc>
                  <a:txBody>
                    <a:bodyPr/>
                    <a:lstStyle/>
                    <a:p>
                      <a:pPr algn="ctr" fontAlgn="ctr"/>
                      <a:r>
                        <a:rPr lang="cs-CZ" sz="1100" b="0" i="1" u="none" strike="noStrike">
                          <a:solidFill>
                            <a:srgbClr val="000000"/>
                          </a:solidFill>
                          <a:effectLst/>
                          <a:latin typeface="Calibri" panose="020F0502020204030204" pitchFamily="34" charset="0"/>
                        </a:rPr>
                        <a:t>8 683 1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8741383"/>
                  </a:ext>
                </a:extLst>
              </a:tr>
              <a:tr h="268756">
                <a:tc>
                  <a:txBody>
                    <a:bodyPr/>
                    <a:lstStyle/>
                    <a:p>
                      <a:pPr algn="ctr" fontAlgn="ctr"/>
                      <a:r>
                        <a:rPr lang="cs-CZ" sz="1100" b="0" i="1" u="none" strike="noStrike">
                          <a:solidFill>
                            <a:srgbClr val="000000"/>
                          </a:solidFill>
                          <a:effectLst/>
                          <a:latin typeface="Calibri" panose="020F0502020204030204" pitchFamily="34" charset="0"/>
                        </a:rPr>
                        <a:t>8 878 1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51730508"/>
                  </a:ext>
                </a:extLst>
              </a:tr>
              <a:tr h="268756">
                <a:tc>
                  <a:txBody>
                    <a:bodyPr/>
                    <a:lstStyle/>
                    <a:p>
                      <a:pPr algn="ctr" fontAlgn="ctr"/>
                      <a:r>
                        <a:rPr lang="cs-CZ" sz="1100" b="0" i="1" u="none" strike="noStrike">
                          <a:solidFill>
                            <a:srgbClr val="000000"/>
                          </a:solidFill>
                          <a:effectLst/>
                          <a:latin typeface="Calibri" panose="020F0502020204030204" pitchFamily="34" charset="0"/>
                        </a:rPr>
                        <a:t>9 334 6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5677209"/>
                  </a:ext>
                </a:extLst>
              </a:tr>
              <a:tr h="268756">
                <a:tc>
                  <a:txBody>
                    <a:bodyPr/>
                    <a:lstStyle/>
                    <a:p>
                      <a:pPr algn="ctr" fontAlgn="ctr"/>
                      <a:r>
                        <a:rPr lang="cs-CZ" sz="1100" b="0" i="1" u="none" strike="noStrike">
                          <a:solidFill>
                            <a:srgbClr val="000000"/>
                          </a:solidFill>
                          <a:effectLst/>
                          <a:latin typeface="Calibri" panose="020F0502020204030204" pitchFamily="34" charset="0"/>
                        </a:rPr>
                        <a:t>447 5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20186940"/>
                  </a:ext>
                </a:extLst>
              </a:tr>
              <a:tr h="268756">
                <a:tc>
                  <a:txBody>
                    <a:bodyPr/>
                    <a:lstStyle/>
                    <a:p>
                      <a:pPr algn="ctr" fontAlgn="ctr"/>
                      <a:r>
                        <a:rPr lang="cs-CZ" sz="1100" b="0" i="1" u="none" strike="noStrike">
                          <a:solidFill>
                            <a:srgbClr val="000000"/>
                          </a:solidFill>
                          <a:effectLst/>
                          <a:latin typeface="Calibri" panose="020F0502020204030204" pitchFamily="34" charset="0"/>
                        </a:rPr>
                        <a:t>1 038 3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72547789"/>
                  </a:ext>
                </a:extLst>
              </a:tr>
              <a:tr h="268756">
                <a:tc>
                  <a:txBody>
                    <a:bodyPr/>
                    <a:lstStyle/>
                    <a:p>
                      <a:pPr algn="ctr" fontAlgn="ctr"/>
                      <a:r>
                        <a:rPr lang="cs-CZ" sz="1100" b="0" i="1" u="none" strike="noStrike">
                          <a:solidFill>
                            <a:srgbClr val="000000"/>
                          </a:solidFill>
                          <a:effectLst/>
                          <a:latin typeface="Calibri" panose="020F0502020204030204" pitchFamily="34" charset="0"/>
                        </a:rPr>
                        <a:t>672 4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8706972"/>
                  </a:ext>
                </a:extLst>
              </a:tr>
              <a:tr h="268756">
                <a:tc>
                  <a:txBody>
                    <a:bodyPr/>
                    <a:lstStyle/>
                    <a:p>
                      <a:pPr algn="ctr" fontAlgn="ctr"/>
                      <a:r>
                        <a:rPr lang="cs-CZ" sz="1100" b="0" i="1" u="none" strike="noStrike">
                          <a:solidFill>
                            <a:srgbClr val="000000"/>
                          </a:solidFill>
                          <a:effectLst/>
                          <a:latin typeface="Calibri" panose="020F0502020204030204" pitchFamily="34" charset="0"/>
                        </a:rPr>
                        <a:t>625 4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94968834"/>
                  </a:ext>
                </a:extLst>
              </a:tr>
              <a:tr h="268756">
                <a:tc>
                  <a:txBody>
                    <a:bodyPr/>
                    <a:lstStyle/>
                    <a:p>
                      <a:pPr algn="ctr" fontAlgn="ctr"/>
                      <a:r>
                        <a:rPr lang="cs-CZ" sz="1100" b="0" i="1" u="none" strike="noStrike">
                          <a:solidFill>
                            <a:srgbClr val="000000"/>
                          </a:solidFill>
                          <a:effectLst/>
                          <a:latin typeface="Calibri" panose="020F0502020204030204" pitchFamily="34" charset="0"/>
                        </a:rPr>
                        <a:t>669 7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4260546"/>
                  </a:ext>
                </a:extLst>
              </a:tr>
              <a:tr h="268756">
                <a:tc>
                  <a:txBody>
                    <a:bodyPr/>
                    <a:lstStyle/>
                    <a:p>
                      <a:pPr algn="ctr" fontAlgn="ctr"/>
                      <a:r>
                        <a:rPr lang="cs-CZ" sz="1100" b="0" i="1" u="none" strike="noStrike">
                          <a:solidFill>
                            <a:srgbClr val="000000"/>
                          </a:solidFill>
                          <a:effectLst/>
                          <a:latin typeface="Calibri" panose="020F0502020204030204" pitchFamily="34" charset="0"/>
                        </a:rPr>
                        <a:t>691 0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03168544"/>
                  </a:ext>
                </a:extLst>
              </a:tr>
              <a:tr h="268756">
                <a:tc>
                  <a:txBody>
                    <a:bodyPr/>
                    <a:lstStyle/>
                    <a:p>
                      <a:pPr algn="ctr" fontAlgn="ctr"/>
                      <a:r>
                        <a:rPr lang="cs-CZ" sz="1100" b="0" i="1" u="none" strike="noStrike">
                          <a:solidFill>
                            <a:srgbClr val="000000"/>
                          </a:solidFill>
                          <a:effectLst/>
                          <a:latin typeface="Calibri" panose="020F0502020204030204" pitchFamily="34" charset="0"/>
                        </a:rPr>
                        <a:t>882 5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97991601"/>
                  </a:ext>
                </a:extLst>
              </a:tr>
              <a:tr h="268756">
                <a:tc>
                  <a:txBody>
                    <a:bodyPr/>
                    <a:lstStyle/>
                    <a:p>
                      <a:pPr algn="ctr" fontAlgn="ctr"/>
                      <a:r>
                        <a:rPr lang="cs-CZ" sz="1100" b="0" i="1" u="none" strike="noStrike">
                          <a:solidFill>
                            <a:srgbClr val="000000"/>
                          </a:solidFill>
                          <a:effectLst/>
                          <a:latin typeface="Calibri" panose="020F0502020204030204" pitchFamily="34" charset="0"/>
                        </a:rPr>
                        <a:t>893 3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80878997"/>
                  </a:ext>
                </a:extLst>
              </a:tr>
              <a:tr h="268756">
                <a:tc>
                  <a:txBody>
                    <a:bodyPr/>
                    <a:lstStyle/>
                    <a:p>
                      <a:pPr algn="ctr" fontAlgn="ctr"/>
                      <a:r>
                        <a:rPr lang="cs-CZ" sz="1100" b="0" i="1" u="none" strike="noStrike">
                          <a:solidFill>
                            <a:srgbClr val="000000"/>
                          </a:solidFill>
                          <a:effectLst/>
                          <a:latin typeface="Calibri" panose="020F0502020204030204" pitchFamily="34" charset="0"/>
                        </a:rPr>
                        <a:t>753 3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4901668"/>
                  </a:ext>
                </a:extLst>
              </a:tr>
              <a:tr h="268756">
                <a:tc>
                  <a:txBody>
                    <a:bodyPr/>
                    <a:lstStyle/>
                    <a:p>
                      <a:pPr algn="ctr" fontAlgn="ctr"/>
                      <a:r>
                        <a:rPr lang="cs-CZ" sz="1100" b="0" i="1" u="none" strike="noStrike">
                          <a:solidFill>
                            <a:srgbClr val="000000"/>
                          </a:solidFill>
                          <a:effectLst/>
                          <a:latin typeface="Calibri" panose="020F0502020204030204" pitchFamily="34" charset="0"/>
                        </a:rPr>
                        <a:t>718 9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96830054"/>
                  </a:ext>
                </a:extLst>
              </a:tr>
              <a:tr h="268756">
                <a:tc>
                  <a:txBody>
                    <a:bodyPr/>
                    <a:lstStyle/>
                    <a:p>
                      <a:pPr algn="ctr" fontAlgn="ctr"/>
                      <a:r>
                        <a:rPr lang="cs-CZ" sz="1100" b="0" i="1" u="none" strike="noStrike">
                          <a:solidFill>
                            <a:srgbClr val="000000"/>
                          </a:solidFill>
                          <a:effectLst/>
                          <a:latin typeface="Calibri" panose="020F0502020204030204" pitchFamily="34" charset="0"/>
                        </a:rPr>
                        <a:t>1 485 4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04077139"/>
                  </a:ext>
                </a:extLst>
              </a:tr>
              <a:tr h="268756">
                <a:tc>
                  <a:txBody>
                    <a:bodyPr/>
                    <a:lstStyle/>
                    <a:p>
                      <a:pPr algn="ctr" fontAlgn="ctr"/>
                      <a:r>
                        <a:rPr lang="cs-CZ" sz="1100" b="0" i="1" u="none" strike="noStrike">
                          <a:solidFill>
                            <a:srgbClr val="000000"/>
                          </a:solidFill>
                          <a:effectLst/>
                          <a:latin typeface="Calibri" panose="020F0502020204030204" pitchFamily="34" charset="0"/>
                        </a:rPr>
                        <a:t>456 4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386110308"/>
                  </a:ext>
                </a:extLst>
              </a:tr>
              <a:tr h="268756">
                <a:tc>
                  <a:txBody>
                    <a:bodyPr/>
                    <a:lstStyle/>
                    <a:p>
                      <a:pPr algn="ctr" fontAlgn="ctr"/>
                      <a:r>
                        <a:rPr lang="cs-CZ" sz="1100" b="0" i="1" u="none" strike="noStrike" dirty="0">
                          <a:solidFill>
                            <a:srgbClr val="000000"/>
                          </a:solidFill>
                          <a:effectLst/>
                          <a:latin typeface="Calibri" panose="020F0502020204030204" pitchFamily="34" charset="0"/>
                        </a:rPr>
                        <a:t>799 8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4096052"/>
                  </a:ext>
                </a:extLst>
              </a:tr>
            </a:tbl>
          </a:graphicData>
        </a:graphic>
      </p:graphicFrame>
      <p:sp>
        <p:nvSpPr>
          <p:cNvPr id="10" name="Obdélník 9">
            <a:extLst>
              <a:ext uri="{FF2B5EF4-FFF2-40B4-BE49-F238E27FC236}">
                <a16:creationId xmlns:a16="http://schemas.microsoft.com/office/drawing/2014/main" id="{95E84E81-91E5-46C2-9381-CDCE4FF5644A}"/>
              </a:ext>
            </a:extLst>
          </p:cNvPr>
          <p:cNvSpPr/>
          <p:nvPr/>
        </p:nvSpPr>
        <p:spPr>
          <a:xfrm>
            <a:off x="10869628" y="1161627"/>
            <a:ext cx="1029641"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byvatelstv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 1. 1. 2021</a:t>
            </a:r>
            <a:endParaRPr kumimoji="0" lang="cs-CZ" sz="20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 name="Obdélník 14">
            <a:extLst>
              <a:ext uri="{FF2B5EF4-FFF2-40B4-BE49-F238E27FC236}">
                <a16:creationId xmlns:a16="http://schemas.microsoft.com/office/drawing/2014/main" id="{86E77576-36EA-49CC-A5E6-BAF82103ABAE}"/>
              </a:ext>
            </a:extLst>
          </p:cNvPr>
          <p:cNvSpPr/>
          <p:nvPr/>
        </p:nvSpPr>
        <p:spPr>
          <a:xfrm>
            <a:off x="240021" y="6160718"/>
            <a:ext cx="117163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FF0000"/>
                </a:solidFill>
                <a:effectLst/>
                <a:uLnTx/>
                <a:uFillTx/>
                <a:latin typeface="Arial" panose="020B0604020202020204"/>
                <a:ea typeface="+mn-ea"/>
                <a:cs typeface="+mn-cs"/>
              </a:rPr>
              <a:t>Poznámka: Registrovaní, čekají na termín = provedli registraci na OČM nejdéle před dvěma měsíci; Mají rezervaci termínu = nejdéle před měsícem získali termín pro očkování;</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FF0000"/>
                </a:solidFill>
                <a:effectLst/>
                <a:uLnTx/>
                <a:uFillTx/>
                <a:latin typeface="Arial" panose="020B0604020202020204"/>
                <a:ea typeface="+mn-ea"/>
                <a:cs typeface="+mn-cs"/>
              </a:rPr>
              <a:t>Prodělali onemocnění = osoby, které nebyly očkovány a ani nejsou přihlášeny k očkování a kdykoliv v minulosti prodělaly onemocnění COVID-19 podle dat ISIN.</a:t>
            </a:r>
          </a:p>
        </p:txBody>
      </p:sp>
    </p:spTree>
    <p:extLst>
      <p:ext uri="{BB962C8B-B14F-4D97-AF65-F5344CB8AC3E}">
        <p14:creationId xmlns:p14="http://schemas.microsoft.com/office/powerpoint/2010/main" val="22590508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A850C8A-CC4F-462B-B79D-6CCF7442F589}"/>
              </a:ext>
            </a:extLst>
          </p:cNvPr>
          <p:cNvSpPr>
            <a:spLocks noGrp="1"/>
          </p:cNvSpPr>
          <p:nvPr>
            <p:ph type="title"/>
          </p:nvPr>
        </p:nvSpPr>
        <p:spPr/>
        <p:txBody>
          <a:bodyPr/>
          <a:lstStyle/>
          <a:p>
            <a:r>
              <a:rPr lang="cs-CZ" dirty="0"/>
              <a:t>Zájem o očkování, stav k 27. 12. 2021</a:t>
            </a:r>
          </a:p>
        </p:txBody>
      </p:sp>
      <p:graphicFrame>
        <p:nvGraphicFramePr>
          <p:cNvPr id="7" name="Graf 6">
            <a:extLst>
              <a:ext uri="{FF2B5EF4-FFF2-40B4-BE49-F238E27FC236}">
                <a16:creationId xmlns:a16="http://schemas.microsoft.com/office/drawing/2014/main" id="{394D7A9E-99FA-4768-92F9-5B89BCF6149F}"/>
              </a:ext>
            </a:extLst>
          </p:cNvPr>
          <p:cNvGraphicFramePr/>
          <p:nvPr/>
        </p:nvGraphicFramePr>
        <p:xfrm>
          <a:off x="999133" y="1136053"/>
          <a:ext cx="9945091" cy="5238079"/>
        </p:xfrm>
        <a:graphic>
          <a:graphicData uri="http://schemas.openxmlformats.org/drawingml/2006/chart">
            <c:chart xmlns:c="http://schemas.openxmlformats.org/drawingml/2006/chart" xmlns:r="http://schemas.openxmlformats.org/officeDocument/2006/relationships" r:id="rId2"/>
          </a:graphicData>
        </a:graphic>
      </p:graphicFrame>
      <p:cxnSp>
        <p:nvCxnSpPr>
          <p:cNvPr id="11" name="Přímá spojnice 10">
            <a:extLst>
              <a:ext uri="{FF2B5EF4-FFF2-40B4-BE49-F238E27FC236}">
                <a16:creationId xmlns:a16="http://schemas.microsoft.com/office/drawing/2014/main" id="{8E059801-51AB-4C86-84F6-0A56BB1A9702}"/>
              </a:ext>
            </a:extLst>
          </p:cNvPr>
          <p:cNvCxnSpPr/>
          <p:nvPr/>
        </p:nvCxnSpPr>
        <p:spPr>
          <a:xfrm>
            <a:off x="1529428" y="2660280"/>
            <a:ext cx="9108000" cy="0"/>
          </a:xfrm>
          <a:prstGeom prst="lin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5" name="Obdélník 4">
            <a:extLst>
              <a:ext uri="{FF2B5EF4-FFF2-40B4-BE49-F238E27FC236}">
                <a16:creationId xmlns:a16="http://schemas.microsoft.com/office/drawing/2014/main" id="{5ABF8076-C77D-42E3-80CA-E6F0C3F23213}"/>
              </a:ext>
            </a:extLst>
          </p:cNvPr>
          <p:cNvSpPr/>
          <p:nvPr/>
        </p:nvSpPr>
        <p:spPr>
          <a:xfrm>
            <a:off x="244279" y="6417893"/>
            <a:ext cx="11716397"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FF0000"/>
                </a:solidFill>
                <a:effectLst/>
                <a:uLnTx/>
                <a:uFillTx/>
                <a:latin typeface="Arial" panose="020B0604020202020204"/>
                <a:ea typeface="+mn-ea"/>
                <a:cs typeface="+mn-cs"/>
              </a:rPr>
              <a:t>Poznámka: Registrovaní, čekají na termín = provedli registraci na OČM nejdéle před dvěma měsíci; Mají rezervaci termínu = nejdéle před měsícem získali termín pro očkování</a:t>
            </a:r>
          </a:p>
        </p:txBody>
      </p:sp>
    </p:spTree>
    <p:extLst>
      <p:ext uri="{BB962C8B-B14F-4D97-AF65-F5344CB8AC3E}">
        <p14:creationId xmlns:p14="http://schemas.microsoft.com/office/powerpoint/2010/main" val="38593045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77004515-1612-489D-9699-02FA9F0C0BAE}"/>
              </a:ext>
            </a:extLst>
          </p:cNvPr>
          <p:cNvGraphicFramePr>
            <a:graphicFrameLocks noGrp="1"/>
          </p:cNvGraphicFramePr>
          <p:nvPr/>
        </p:nvGraphicFramePr>
        <p:xfrm>
          <a:off x="9496425" y="1572418"/>
          <a:ext cx="2085974" cy="4666455"/>
        </p:xfrm>
        <a:graphic>
          <a:graphicData uri="http://schemas.openxmlformats.org/drawingml/2006/table">
            <a:tbl>
              <a:tblPr/>
              <a:tblGrid>
                <a:gridCol w="2085974">
                  <a:extLst>
                    <a:ext uri="{9D8B030D-6E8A-4147-A177-3AD203B41FA5}">
                      <a16:colId xmlns:a16="http://schemas.microsoft.com/office/drawing/2014/main" val="1719180277"/>
                    </a:ext>
                  </a:extLst>
                </a:gridCol>
              </a:tblGrid>
              <a:tr h="311097">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3D6"/>
                    </a:solidFill>
                  </a:tcPr>
                </a:tc>
                <a:extLst>
                  <a:ext uri="{0D108BD9-81ED-4DB2-BD59-A6C34878D82A}">
                    <a16:rowId xmlns:a16="http://schemas.microsoft.com/office/drawing/2014/main" val="1073217357"/>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EDF0"/>
                    </a:solidFill>
                  </a:tcPr>
                </a:tc>
                <a:extLst>
                  <a:ext uri="{0D108BD9-81ED-4DB2-BD59-A6C34878D82A}">
                    <a16:rowId xmlns:a16="http://schemas.microsoft.com/office/drawing/2014/main" val="3237287494"/>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D9DC"/>
                    </a:solidFill>
                  </a:tcPr>
                </a:tc>
                <a:extLst>
                  <a:ext uri="{0D108BD9-81ED-4DB2-BD59-A6C34878D82A}">
                    <a16:rowId xmlns:a16="http://schemas.microsoft.com/office/drawing/2014/main" val="550130044"/>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B4B7"/>
                    </a:solidFill>
                  </a:tcPr>
                </a:tc>
                <a:extLst>
                  <a:ext uri="{0D108BD9-81ED-4DB2-BD59-A6C34878D82A}">
                    <a16:rowId xmlns:a16="http://schemas.microsoft.com/office/drawing/2014/main" val="2365146216"/>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1399925841"/>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A4A7"/>
                    </a:solidFill>
                  </a:tcPr>
                </a:tc>
                <a:extLst>
                  <a:ext uri="{0D108BD9-81ED-4DB2-BD59-A6C34878D82A}">
                    <a16:rowId xmlns:a16="http://schemas.microsoft.com/office/drawing/2014/main" val="3138314879"/>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A7AA"/>
                    </a:solidFill>
                  </a:tcPr>
                </a:tc>
                <a:extLst>
                  <a:ext uri="{0D108BD9-81ED-4DB2-BD59-A6C34878D82A}">
                    <a16:rowId xmlns:a16="http://schemas.microsoft.com/office/drawing/2014/main" val="638992646"/>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7C9"/>
                    </a:solidFill>
                  </a:tcPr>
                </a:tc>
                <a:extLst>
                  <a:ext uri="{0D108BD9-81ED-4DB2-BD59-A6C34878D82A}">
                    <a16:rowId xmlns:a16="http://schemas.microsoft.com/office/drawing/2014/main" val="2452796398"/>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BCE"/>
                    </a:solidFill>
                  </a:tcPr>
                </a:tc>
                <a:extLst>
                  <a:ext uri="{0D108BD9-81ED-4DB2-BD59-A6C34878D82A}">
                    <a16:rowId xmlns:a16="http://schemas.microsoft.com/office/drawing/2014/main" val="3980354538"/>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662949129"/>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A3A5"/>
                    </a:solidFill>
                  </a:tcPr>
                </a:tc>
                <a:extLst>
                  <a:ext uri="{0D108BD9-81ED-4DB2-BD59-A6C34878D82A}">
                    <a16:rowId xmlns:a16="http://schemas.microsoft.com/office/drawing/2014/main" val="353192207"/>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092"/>
                    </a:solidFill>
                  </a:tcPr>
                </a:tc>
                <a:extLst>
                  <a:ext uri="{0D108BD9-81ED-4DB2-BD59-A6C34878D82A}">
                    <a16:rowId xmlns:a16="http://schemas.microsoft.com/office/drawing/2014/main" val="3575292940"/>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A0A3"/>
                    </a:solidFill>
                  </a:tcPr>
                </a:tc>
                <a:extLst>
                  <a:ext uri="{0D108BD9-81ED-4DB2-BD59-A6C34878D82A}">
                    <a16:rowId xmlns:a16="http://schemas.microsoft.com/office/drawing/2014/main" val="2929966327"/>
                  </a:ext>
                </a:extLst>
              </a:tr>
              <a:tr h="31109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7779"/>
                    </a:solidFill>
                  </a:tcPr>
                </a:tc>
                <a:extLst>
                  <a:ext uri="{0D108BD9-81ED-4DB2-BD59-A6C34878D82A}">
                    <a16:rowId xmlns:a16="http://schemas.microsoft.com/office/drawing/2014/main" val="2379687373"/>
                  </a:ext>
                </a:extLst>
              </a:tr>
              <a:tr h="311097">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BFC1"/>
                    </a:solidFill>
                  </a:tcPr>
                </a:tc>
                <a:extLst>
                  <a:ext uri="{0D108BD9-81ED-4DB2-BD59-A6C34878D82A}">
                    <a16:rowId xmlns:a16="http://schemas.microsoft.com/office/drawing/2014/main" val="907714069"/>
                  </a:ext>
                </a:extLst>
              </a:tr>
            </a:tbl>
          </a:graphicData>
        </a:graphic>
      </p:graphicFrame>
      <p:sp>
        <p:nvSpPr>
          <p:cNvPr id="2" name="Nadpis 1">
            <a:extLst>
              <a:ext uri="{FF2B5EF4-FFF2-40B4-BE49-F238E27FC236}">
                <a16:creationId xmlns:a16="http://schemas.microsoft.com/office/drawing/2014/main" id="{5A850C8A-CC4F-462B-B79D-6CCF7442F589}"/>
              </a:ext>
            </a:extLst>
          </p:cNvPr>
          <p:cNvSpPr>
            <a:spLocks noGrp="1"/>
          </p:cNvSpPr>
          <p:nvPr>
            <p:ph type="title"/>
          </p:nvPr>
        </p:nvSpPr>
        <p:spPr>
          <a:xfrm>
            <a:off x="381739" y="2"/>
            <a:ext cx="7571636" cy="576000"/>
          </a:xfrm>
        </p:spPr>
        <p:txBody>
          <a:bodyPr/>
          <a:lstStyle/>
          <a:p>
            <a:r>
              <a:rPr lang="cs-CZ" dirty="0"/>
              <a:t>Očkování osob ve věku 60 a více let, stav k 27. 12. 2021</a:t>
            </a:r>
          </a:p>
        </p:txBody>
      </p:sp>
      <p:graphicFrame>
        <p:nvGraphicFramePr>
          <p:cNvPr id="4" name="Tabulka 3">
            <a:extLst>
              <a:ext uri="{FF2B5EF4-FFF2-40B4-BE49-F238E27FC236}">
                <a16:creationId xmlns:a16="http://schemas.microsoft.com/office/drawing/2014/main" id="{06F97362-C236-4EBD-9EF0-44D312A77075}"/>
              </a:ext>
            </a:extLst>
          </p:cNvPr>
          <p:cNvGraphicFramePr>
            <a:graphicFrameLocks noGrp="1"/>
          </p:cNvGraphicFramePr>
          <p:nvPr/>
        </p:nvGraphicFramePr>
        <p:xfrm>
          <a:off x="730250" y="943769"/>
          <a:ext cx="10852149" cy="5295109"/>
        </p:xfrm>
        <a:graphic>
          <a:graphicData uri="http://schemas.openxmlformats.org/drawingml/2006/table">
            <a:tbl>
              <a:tblPr/>
              <a:tblGrid>
                <a:gridCol w="2491565">
                  <a:extLst>
                    <a:ext uri="{9D8B030D-6E8A-4147-A177-3AD203B41FA5}">
                      <a16:colId xmlns:a16="http://schemas.microsoft.com/office/drawing/2014/main" val="247101253"/>
                    </a:ext>
                  </a:extLst>
                </a:gridCol>
                <a:gridCol w="2090146">
                  <a:extLst>
                    <a:ext uri="{9D8B030D-6E8A-4147-A177-3AD203B41FA5}">
                      <a16:colId xmlns:a16="http://schemas.microsoft.com/office/drawing/2014/main" val="621032218"/>
                    </a:ext>
                  </a:extLst>
                </a:gridCol>
                <a:gridCol w="2090146">
                  <a:extLst>
                    <a:ext uri="{9D8B030D-6E8A-4147-A177-3AD203B41FA5}">
                      <a16:colId xmlns:a16="http://schemas.microsoft.com/office/drawing/2014/main" val="1186834516"/>
                    </a:ext>
                  </a:extLst>
                </a:gridCol>
                <a:gridCol w="2090146">
                  <a:extLst>
                    <a:ext uri="{9D8B030D-6E8A-4147-A177-3AD203B41FA5}">
                      <a16:colId xmlns:a16="http://schemas.microsoft.com/office/drawing/2014/main" val="3070557331"/>
                    </a:ext>
                  </a:extLst>
                </a:gridCol>
                <a:gridCol w="2090146">
                  <a:extLst>
                    <a:ext uri="{9D8B030D-6E8A-4147-A177-3AD203B41FA5}">
                      <a16:colId xmlns:a16="http://schemas.microsoft.com/office/drawing/2014/main" val="2844632301"/>
                    </a:ext>
                  </a:extLst>
                </a:gridCol>
              </a:tblGrid>
              <a:tr h="622954">
                <a:tc>
                  <a:txBody>
                    <a:bodyPr/>
                    <a:lstStyle/>
                    <a:p>
                      <a:pPr algn="l" fontAlgn="b"/>
                      <a:r>
                        <a:rPr lang="cs-CZ" sz="1400" b="0" i="0" u="none" strike="noStrike" dirty="0">
                          <a:solidFill>
                            <a:srgbClr val="000000"/>
                          </a:solidFill>
                          <a:effectLst/>
                          <a:latin typeface="Calibri" panose="020F0502020204030204" pitchFamily="34" charset="0"/>
                        </a:rPr>
                        <a:t> </a:t>
                      </a: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1" u="none" strike="noStrike">
                          <a:solidFill>
                            <a:srgbClr val="000000"/>
                          </a:solidFill>
                          <a:effectLst/>
                          <a:latin typeface="Calibri" panose="020F0502020204030204" pitchFamily="34" charset="0"/>
                        </a:rPr>
                        <a:t>Populac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Očkovaní alespoň jednou dávkou</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Neočkovaní, prodělali onemocně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C00000"/>
                          </a:solidFill>
                          <a:effectLst/>
                          <a:latin typeface="Calibri" panose="020F0502020204030204" pitchFamily="34" charset="0"/>
                        </a:rPr>
                        <a:t>Ostat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89949328"/>
                  </a:ext>
                </a:extLst>
              </a:tr>
              <a:tr h="311477">
                <a:tc>
                  <a:txBody>
                    <a:bodyPr/>
                    <a:lstStyle/>
                    <a:p>
                      <a:pPr algn="l" fontAlgn="ctr"/>
                      <a:r>
                        <a:rPr lang="cs-CZ" sz="1400" b="1" i="0" u="none" strike="noStrike">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19 3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78 977 (8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 612 (2,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31 802 (1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1237868"/>
                  </a:ext>
                </a:extLst>
              </a:tr>
              <a:tr h="311477">
                <a:tc>
                  <a:txBody>
                    <a:bodyPr/>
                    <a:lstStyle/>
                    <a:p>
                      <a:pPr algn="l" fontAlgn="ctr"/>
                      <a:r>
                        <a:rPr lang="cs-CZ" sz="1400" b="1" i="0" u="none" strike="noStrike">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35 7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96 924 (8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 205 (2,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29 636 (8,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1132881"/>
                  </a:ext>
                </a:extLst>
              </a:tr>
              <a:tr h="311477">
                <a:tc>
                  <a:txBody>
                    <a:bodyPr/>
                    <a:lstStyle/>
                    <a:p>
                      <a:pPr algn="l" fontAlgn="ctr"/>
                      <a:r>
                        <a:rPr lang="cs-CZ" sz="1400" b="1" i="0" u="none" strike="noStrike">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74 6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52 528 (87,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140 (2,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16 934 (9,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4276533"/>
                  </a:ext>
                </a:extLst>
              </a:tr>
              <a:tr h="311477">
                <a:tc>
                  <a:txBody>
                    <a:bodyPr/>
                    <a:lstStyle/>
                    <a:p>
                      <a:pPr algn="l" fontAlgn="ctr"/>
                      <a:r>
                        <a:rPr lang="cs-CZ" sz="1400" b="1" i="0" u="none" strike="noStrike">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56 8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34 259 (8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866 (3,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17 690 (1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4456864"/>
                  </a:ext>
                </a:extLst>
              </a:tr>
              <a:tr h="311477">
                <a:tc>
                  <a:txBody>
                    <a:bodyPr/>
                    <a:lstStyle/>
                    <a:p>
                      <a:pPr algn="l" fontAlgn="ctr"/>
                      <a:r>
                        <a:rPr lang="cs-CZ" sz="1400" b="1" i="0" u="none" strike="noStrike">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79 3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5 521 (82,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347 (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11 478 (1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7549936"/>
                  </a:ext>
                </a:extLst>
              </a:tr>
              <a:tr h="311477">
                <a:tc>
                  <a:txBody>
                    <a:bodyPr/>
                    <a:lstStyle/>
                    <a:p>
                      <a:pPr algn="l" fontAlgn="ctr"/>
                      <a:r>
                        <a:rPr lang="cs-CZ" sz="1400" b="1" i="0" u="none" strike="noStrike">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10 5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9 038 (85,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327 (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25 166 (12,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4985127"/>
                  </a:ext>
                </a:extLst>
              </a:tr>
              <a:tr h="311477">
                <a:tc>
                  <a:txBody>
                    <a:bodyPr/>
                    <a:lstStyle/>
                    <a:p>
                      <a:pPr algn="l" fontAlgn="ctr"/>
                      <a:r>
                        <a:rPr lang="cs-CZ" sz="1400" b="1" i="0" u="none" strike="noStrike">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15 6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8 048 (84,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922 (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13 680 (1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3003785"/>
                  </a:ext>
                </a:extLst>
              </a:tr>
              <a:tr h="311477">
                <a:tc>
                  <a:txBody>
                    <a:bodyPr/>
                    <a:lstStyle/>
                    <a:p>
                      <a:pPr algn="l" fontAlgn="ctr"/>
                      <a:r>
                        <a:rPr lang="cs-CZ" sz="14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54 1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33 271 (86,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698 (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16 166 (10,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8805017"/>
                  </a:ext>
                </a:extLst>
              </a:tr>
              <a:tr h="311477">
                <a:tc>
                  <a:txBody>
                    <a:bodyPr/>
                    <a:lstStyle/>
                    <a:p>
                      <a:pPr algn="l" fontAlgn="ctr"/>
                      <a:r>
                        <a:rPr lang="cs-CZ" sz="1400" b="1" i="0" u="none" strike="noStrike">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38 6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9 604 (86,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794 (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14 290 (10,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0308936"/>
                  </a:ext>
                </a:extLst>
              </a:tr>
              <a:tr h="311477">
                <a:tc>
                  <a:txBody>
                    <a:bodyPr/>
                    <a:lstStyle/>
                    <a:p>
                      <a:pPr algn="l" fontAlgn="ctr"/>
                      <a:r>
                        <a:rPr lang="cs-CZ" sz="1400" b="1" i="0" u="none" strike="noStrike">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38 0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22 746 (88,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967 (2,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11 292 (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8836484"/>
                  </a:ext>
                </a:extLst>
              </a:tr>
              <a:tr h="311477">
                <a:tc>
                  <a:txBody>
                    <a:bodyPr/>
                    <a:lstStyle/>
                    <a:p>
                      <a:pPr algn="l" fontAlgn="ctr"/>
                      <a:r>
                        <a:rPr lang="cs-CZ" sz="14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12 0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64 435 (84,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 114 (3,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37 454 (12,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5453060"/>
                  </a:ext>
                </a:extLst>
              </a:tr>
              <a:tr h="311477">
                <a:tc>
                  <a:txBody>
                    <a:bodyPr/>
                    <a:lstStyle/>
                    <a:p>
                      <a:pPr algn="l" fontAlgn="ctr"/>
                      <a:r>
                        <a:rPr lang="cs-CZ" sz="1400" b="1" i="0" u="none" strike="noStrike">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71 7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43 004 (8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690 (3,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22 027 (12,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145335"/>
                  </a:ext>
                </a:extLst>
              </a:tr>
              <a:tr h="311477">
                <a:tc>
                  <a:txBody>
                    <a:bodyPr/>
                    <a:lstStyle/>
                    <a:p>
                      <a:pPr algn="l" fontAlgn="ctr"/>
                      <a:r>
                        <a:rPr lang="cs-CZ" sz="1400" b="1" i="0" u="none" strike="noStrike">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59 4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33 940 (8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150 (3,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19 319 (12,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802784"/>
                  </a:ext>
                </a:extLst>
              </a:tr>
              <a:tr h="311477">
                <a:tc>
                  <a:txBody>
                    <a:bodyPr/>
                    <a:lstStyle/>
                    <a:p>
                      <a:pPr algn="l" fontAlgn="ctr"/>
                      <a:r>
                        <a:rPr lang="cs-CZ" sz="1400" b="1" i="0" u="none" strike="noStrike">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17 7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60 564 (82,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3 075 (4,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C00000"/>
                          </a:solidFill>
                          <a:effectLst/>
                          <a:latin typeface="Calibri" panose="020F0502020204030204" pitchFamily="34" charset="0"/>
                        </a:rPr>
                        <a:t>44 087 (13,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1343461"/>
                  </a:ext>
                </a:extLst>
              </a:tr>
              <a:tr h="311477">
                <a:tc>
                  <a:txBody>
                    <a:bodyPr/>
                    <a:lstStyle/>
                    <a:p>
                      <a:pPr algn="l" fontAlgn="ctr"/>
                      <a:r>
                        <a:rPr lang="cs-CZ" sz="1400" b="1" i="0" u="none" strike="noStrike">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a:solidFill>
                            <a:srgbClr val="000000"/>
                          </a:solidFill>
                          <a:effectLst/>
                          <a:latin typeface="Calibri" panose="020F0502020204030204" pitchFamily="34" charset="0"/>
                        </a:rPr>
                        <a:t>2 783 7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 392 042 (85,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90 631 (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301 114 (10,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9732992"/>
                  </a:ext>
                </a:extLst>
              </a:tr>
            </a:tbl>
          </a:graphicData>
        </a:graphic>
      </p:graphicFrame>
      <p:sp>
        <p:nvSpPr>
          <p:cNvPr id="6" name="Obdélník 5">
            <a:extLst>
              <a:ext uri="{FF2B5EF4-FFF2-40B4-BE49-F238E27FC236}">
                <a16:creationId xmlns:a16="http://schemas.microsoft.com/office/drawing/2014/main" id="{87043419-4FDF-4B0A-A285-86303D4A70A3}"/>
              </a:ext>
            </a:extLst>
          </p:cNvPr>
          <p:cNvSpPr/>
          <p:nvPr/>
        </p:nvSpPr>
        <p:spPr>
          <a:xfrm>
            <a:off x="4581755" y="6574393"/>
            <a:ext cx="3155030"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Informační systém infekční nemoci (ISIN)</a:t>
            </a:r>
          </a:p>
        </p:txBody>
      </p:sp>
    </p:spTree>
    <p:extLst>
      <p:ext uri="{BB962C8B-B14F-4D97-AF65-F5344CB8AC3E}">
        <p14:creationId xmlns:p14="http://schemas.microsoft.com/office/powerpoint/2010/main" val="5284706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F9B342C0-85BA-4B8D-A9DC-88C96818417A}"/>
              </a:ext>
            </a:extLst>
          </p:cNvPr>
          <p:cNvPicPr>
            <a:picLocks noChangeAspect="1"/>
          </p:cNvPicPr>
          <p:nvPr/>
        </p:nvPicPr>
        <p:blipFill>
          <a:blip r:embed="rId3"/>
          <a:stretch>
            <a:fillRect/>
          </a:stretch>
        </p:blipFill>
        <p:spPr>
          <a:xfrm>
            <a:off x="814033" y="2177175"/>
            <a:ext cx="7250497" cy="3240000"/>
          </a:xfrm>
          <a:prstGeom prst="rect">
            <a:avLst/>
          </a:prstGeom>
        </p:spPr>
      </p:pic>
      <p:sp>
        <p:nvSpPr>
          <p:cNvPr id="23" name="TextovéPole 12">
            <a:extLst>
              <a:ext uri="{FF2B5EF4-FFF2-40B4-BE49-F238E27FC236}">
                <a16:creationId xmlns:a16="http://schemas.microsoft.com/office/drawing/2014/main" id="{9119B67F-49E4-4A7A-BA36-DAE66AAD4855}"/>
              </a:ext>
            </a:extLst>
          </p:cNvPr>
          <p:cNvSpPr txBox="1"/>
          <p:nvPr/>
        </p:nvSpPr>
        <p:spPr>
          <a:xfrm rot="16200000">
            <a:off x="-814628" y="3752190"/>
            <a:ext cx="3032408"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Nové případy onemocnění za den</a:t>
            </a:r>
          </a:p>
        </p:txBody>
      </p:sp>
      <p:sp>
        <p:nvSpPr>
          <p:cNvPr id="16" name="TextovéPole 15">
            <a:extLst>
              <a:ext uri="{FF2B5EF4-FFF2-40B4-BE49-F238E27FC236}">
                <a16:creationId xmlns:a16="http://schemas.microsoft.com/office/drawing/2014/main" id="{C11F9500-ED81-45FD-AF3C-90840EEBF1C3}"/>
              </a:ext>
            </a:extLst>
          </p:cNvPr>
          <p:cNvSpPr txBox="1"/>
          <p:nvPr/>
        </p:nvSpPr>
        <p:spPr>
          <a:xfrm>
            <a:off x="169916" y="6054090"/>
            <a:ext cx="80344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Snímek prezentuje výsledky simulace prostřednictvím epidemiologického modelu </a:t>
            </a:r>
            <a:r>
              <a:rPr kumimoji="0" lang="cs-CZ" sz="1100" b="0" i="1" u="none" strike="noStrike" kern="1200" cap="none" spc="0" normalizeH="0" baseline="0" noProof="0" dirty="0" err="1">
                <a:ln>
                  <a:noFill/>
                </a:ln>
                <a:solidFill>
                  <a:prstClr val="black"/>
                </a:solidFill>
                <a:effectLst/>
                <a:uLnTx/>
                <a:uFillTx/>
                <a:latin typeface="Arial" panose="020B0604020202020204"/>
                <a:ea typeface="+mn-ea"/>
                <a:cs typeface="+mn-cs"/>
              </a:rPr>
              <a:t>SEIRV</a:t>
            </a: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 který zahrnuje vybrané předpoklady a slouží ke zkoumání dopadu změny různých parametrů epidemie. Vzhledem k neurčitostem ve struktuře modelu (například limitované znalosti o skutečné vnímavosti populace k viru a k jeho novým variantám) je nezbytné výsledky brát jako orientační, umožňující zejména celkové srovnávání jednotlivých scénářů, nikoli konkrétní předpověď pro určité období. </a:t>
            </a:r>
          </a:p>
        </p:txBody>
      </p:sp>
      <p:sp>
        <p:nvSpPr>
          <p:cNvPr id="18" name="TextovéPole 17">
            <a:extLst>
              <a:ext uri="{FF2B5EF4-FFF2-40B4-BE49-F238E27FC236}">
                <a16:creationId xmlns:a16="http://schemas.microsoft.com/office/drawing/2014/main" id="{8A6A1759-77AD-4B7F-98D8-D6E46F18384F}"/>
              </a:ext>
            </a:extLst>
          </p:cNvPr>
          <p:cNvSpPr txBox="1"/>
          <p:nvPr/>
        </p:nvSpPr>
        <p:spPr>
          <a:xfrm>
            <a:off x="200608" y="198705"/>
            <a:ext cx="11796603" cy="400110"/>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Základní výstup simulačního modelu: scénář 0 – bazální, bez eskalace rizika</a:t>
            </a:r>
          </a:p>
        </p:txBody>
      </p:sp>
      <p:graphicFrame>
        <p:nvGraphicFramePr>
          <p:cNvPr id="21" name="Tabulka 10">
            <a:extLst>
              <a:ext uri="{FF2B5EF4-FFF2-40B4-BE49-F238E27FC236}">
                <a16:creationId xmlns:a16="http://schemas.microsoft.com/office/drawing/2014/main" id="{E5273A5B-6F76-4409-B5F3-FB52F2CC9C0A}"/>
              </a:ext>
            </a:extLst>
          </p:cNvPr>
          <p:cNvGraphicFramePr>
            <a:graphicFrameLocks noGrp="1"/>
          </p:cNvGraphicFramePr>
          <p:nvPr>
            <p:extLst>
              <p:ext uri="{D42A27DB-BD31-4B8C-83A1-F6EECF244321}">
                <p14:modId xmlns:p14="http://schemas.microsoft.com/office/powerpoint/2010/main" val="3466311257"/>
              </p:ext>
            </p:extLst>
          </p:nvPr>
        </p:nvGraphicFramePr>
        <p:xfrm>
          <a:off x="206492" y="5457290"/>
          <a:ext cx="7738918" cy="555387"/>
        </p:xfrm>
        <a:graphic>
          <a:graphicData uri="http://schemas.openxmlformats.org/drawingml/2006/table">
            <a:tbl>
              <a:tblPr firstRow="1" bandRow="1">
                <a:tableStyleId>{5C22544A-7EE6-4342-B048-85BDC9FD1C3A}</a:tableStyleId>
              </a:tblPr>
              <a:tblGrid>
                <a:gridCol w="1165108">
                  <a:extLst>
                    <a:ext uri="{9D8B030D-6E8A-4147-A177-3AD203B41FA5}">
                      <a16:colId xmlns:a16="http://schemas.microsoft.com/office/drawing/2014/main" val="2668584180"/>
                    </a:ext>
                  </a:extLst>
                </a:gridCol>
                <a:gridCol w="1314762">
                  <a:extLst>
                    <a:ext uri="{9D8B030D-6E8A-4147-A177-3AD203B41FA5}">
                      <a16:colId xmlns:a16="http://schemas.microsoft.com/office/drawing/2014/main" val="805271721"/>
                    </a:ext>
                  </a:extLst>
                </a:gridCol>
                <a:gridCol w="1314762">
                  <a:extLst>
                    <a:ext uri="{9D8B030D-6E8A-4147-A177-3AD203B41FA5}">
                      <a16:colId xmlns:a16="http://schemas.microsoft.com/office/drawing/2014/main" val="148378157"/>
                    </a:ext>
                  </a:extLst>
                </a:gridCol>
                <a:gridCol w="1314762">
                  <a:extLst>
                    <a:ext uri="{9D8B030D-6E8A-4147-A177-3AD203B41FA5}">
                      <a16:colId xmlns:a16="http://schemas.microsoft.com/office/drawing/2014/main" val="3981597030"/>
                    </a:ext>
                  </a:extLst>
                </a:gridCol>
                <a:gridCol w="1314762">
                  <a:extLst>
                    <a:ext uri="{9D8B030D-6E8A-4147-A177-3AD203B41FA5}">
                      <a16:colId xmlns:a16="http://schemas.microsoft.com/office/drawing/2014/main" val="2471926991"/>
                    </a:ext>
                  </a:extLst>
                </a:gridCol>
                <a:gridCol w="1314762">
                  <a:extLst>
                    <a:ext uri="{9D8B030D-6E8A-4147-A177-3AD203B41FA5}">
                      <a16:colId xmlns:a16="http://schemas.microsoft.com/office/drawing/2014/main" val="3338665376"/>
                    </a:ext>
                  </a:extLst>
                </a:gridCol>
              </a:tblGrid>
              <a:tr h="275016">
                <a:tc>
                  <a:txBody>
                    <a:bodyPr/>
                    <a:lstStyle/>
                    <a:p>
                      <a:pPr algn="ctr" fontAlgn="b"/>
                      <a:endParaRPr lang="cs-CZ" sz="1400" b="1" i="0" u="none" strike="noStrike" noProof="0" dirty="0">
                        <a:solidFill>
                          <a:schemeClr val="tx1"/>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září</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říj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listopa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prosine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en-US" sz="1400" b="0" i="0" u="none" strike="noStrike" dirty="0" err="1">
                          <a:solidFill>
                            <a:srgbClr val="000000"/>
                          </a:solidFill>
                          <a:effectLst/>
                          <a:latin typeface="Calibri" panose="020F0502020204030204" pitchFamily="34" charset="0"/>
                        </a:rPr>
                        <a:t>leden</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408861870"/>
                  </a:ext>
                </a:extLst>
              </a:tr>
              <a:tr h="280371">
                <a:tc>
                  <a:txBody>
                    <a:bodyPr/>
                    <a:lstStyle/>
                    <a:p>
                      <a:pPr algn="ctr" fontAlgn="b"/>
                      <a:r>
                        <a:rPr lang="cs-CZ" sz="1400" b="1" i="0" u="none" strike="noStrike" noProof="0">
                          <a:solidFill>
                            <a:schemeClr val="tx1"/>
                          </a:solidFill>
                          <a:effectLst/>
                          <a:latin typeface="Calibri" panose="020F0502020204030204" pitchFamily="34" charset="0"/>
                        </a:rPr>
                        <a:t>Nově za měsíc</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4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16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Calibri" panose="020F0502020204030204" pitchFamily="34" charset="0"/>
                        </a:rPr>
                        <a:t>450 000</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30</a:t>
                      </a:r>
                      <a:r>
                        <a:rPr lang="en-US" sz="1400" b="0" i="0" u="none" strike="noStrike" dirty="0">
                          <a:solidFill>
                            <a:srgbClr val="000000"/>
                          </a:solidFill>
                          <a:effectLst/>
                          <a:latin typeface="Calibri" panose="020F0502020204030204" pitchFamily="34" charset="0"/>
                        </a:rPr>
                        <a:t>0</a:t>
                      </a:r>
                      <a:r>
                        <a:rPr lang="cs-CZ" sz="1400" b="0" i="0" u="none" strike="noStrike" dirty="0">
                          <a:solidFill>
                            <a:srgbClr val="000000"/>
                          </a:solidFill>
                          <a:effectLst/>
                          <a:latin typeface="Calibri" panose="020F0502020204030204" pitchFamily="34" charset="0"/>
                        </a:rPr>
                        <a:t>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73950241"/>
                  </a:ext>
                </a:extLst>
              </a:tr>
            </a:tbl>
          </a:graphicData>
        </a:graphic>
      </p:graphicFrame>
      <p:sp>
        <p:nvSpPr>
          <p:cNvPr id="36" name="TextovéPole 25">
            <a:extLst>
              <a:ext uri="{FF2B5EF4-FFF2-40B4-BE49-F238E27FC236}">
                <a16:creationId xmlns:a16="http://schemas.microsoft.com/office/drawing/2014/main" id="{69A6EA45-6C41-483C-AE3C-3855D282D872}"/>
              </a:ext>
            </a:extLst>
          </p:cNvPr>
          <p:cNvSpPr txBox="1"/>
          <p:nvPr/>
        </p:nvSpPr>
        <p:spPr>
          <a:xfrm>
            <a:off x="338328" y="1428086"/>
            <a:ext cx="4869176" cy="276999"/>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bez periodicity v rámci týdne, odpovídá cca týdenním klouzavým průměrům</a:t>
            </a:r>
          </a:p>
        </p:txBody>
      </p:sp>
      <p:cxnSp>
        <p:nvCxnSpPr>
          <p:cNvPr id="37" name="Přímá spojnice 36">
            <a:extLst>
              <a:ext uri="{FF2B5EF4-FFF2-40B4-BE49-F238E27FC236}">
                <a16:creationId xmlns:a16="http://schemas.microsoft.com/office/drawing/2014/main" id="{19EDFE44-49B1-4056-A57E-9FDC2D7AF8FC}"/>
              </a:ext>
            </a:extLst>
          </p:cNvPr>
          <p:cNvCxnSpPr/>
          <p:nvPr/>
        </p:nvCxnSpPr>
        <p:spPr>
          <a:xfrm>
            <a:off x="5641449" y="1294480"/>
            <a:ext cx="496389" cy="174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8" name="TextovéPole 24">
            <a:extLst>
              <a:ext uri="{FF2B5EF4-FFF2-40B4-BE49-F238E27FC236}">
                <a16:creationId xmlns:a16="http://schemas.microsoft.com/office/drawing/2014/main" id="{A940C059-DAB5-4319-8CD1-7773FB6244F1}"/>
              </a:ext>
            </a:extLst>
          </p:cNvPr>
          <p:cNvSpPr txBox="1"/>
          <p:nvPr/>
        </p:nvSpPr>
        <p:spPr>
          <a:xfrm>
            <a:off x="6172672" y="1132016"/>
            <a:ext cx="2010177"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Model (simulace)</a:t>
            </a:r>
          </a:p>
        </p:txBody>
      </p:sp>
      <p:sp>
        <p:nvSpPr>
          <p:cNvPr id="39" name="TextovéPole 38">
            <a:extLst>
              <a:ext uri="{FF2B5EF4-FFF2-40B4-BE49-F238E27FC236}">
                <a16:creationId xmlns:a16="http://schemas.microsoft.com/office/drawing/2014/main" id="{128DF63C-E1A6-43F0-B924-9AB2D9934864}"/>
              </a:ext>
            </a:extLst>
          </p:cNvPr>
          <p:cNvSpPr txBox="1"/>
          <p:nvPr/>
        </p:nvSpPr>
        <p:spPr>
          <a:xfrm>
            <a:off x="338328" y="957028"/>
            <a:ext cx="54251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C000"/>
                </a:solidFill>
                <a:effectLst/>
                <a:uLnTx/>
                <a:uFillTx/>
                <a:latin typeface="Calibri" panose="020F0502020204030204"/>
                <a:ea typeface="+mn-ea"/>
                <a:cs typeface="+mn-cs"/>
              </a:rPr>
              <a:t>oranžově</a:t>
            </a: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dosud pozorovaná reálná data</a:t>
            </a:r>
            <a:b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7denní klouzavý průměr, časové </a:t>
            </a:r>
            <a:r>
              <a:rPr kumimoji="0" lang="cs-CZ" sz="1200" b="0" i="0" u="sng" strike="noStrike" kern="1200" cap="none" spc="0" normalizeH="0" baseline="0" noProof="0" dirty="0">
                <a:ln>
                  <a:noFill/>
                </a:ln>
                <a:solidFill>
                  <a:prstClr val="black"/>
                </a:solidFill>
                <a:effectLst/>
                <a:uLnTx/>
                <a:uFillTx/>
                <a:latin typeface="Calibri" panose="020F0502020204030204"/>
                <a:ea typeface="+mn-ea"/>
                <a:cs typeface="+mn-cs"/>
              </a:rPr>
              <a:t>zpoždění k hlášení 4 dny</a:t>
            </a:r>
            <a:endParaRPr kumimoji="0" lang="cs-CZ" sz="16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Podnadpis 2">
            <a:extLst>
              <a:ext uri="{FF2B5EF4-FFF2-40B4-BE49-F238E27FC236}">
                <a16:creationId xmlns:a16="http://schemas.microsoft.com/office/drawing/2014/main" id="{49F496C0-A11E-4335-9F96-05D882A4CC91}"/>
              </a:ext>
            </a:extLst>
          </p:cNvPr>
          <p:cNvSpPr txBox="1">
            <a:spLocks/>
          </p:cNvSpPr>
          <p:nvPr>
            <p:custDataLst>
              <p:tags r:id="rId1"/>
            </p:custDataLst>
          </p:nvPr>
        </p:nvSpPr>
        <p:spPr>
          <a:xfrm>
            <a:off x="8204340" y="2475016"/>
            <a:ext cx="3195118" cy="27073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Model simulující situaci s pouze částečným navýšením základní reprodukce viru, spojeným s nárůstem rizikových kontaktů během Vánoc. Umělá simulace možného „dozvuku“ vlny spojené s variantou Delta, bez významného vstupu varianty Omikron. </a:t>
            </a:r>
          </a:p>
        </p:txBody>
      </p:sp>
      <p:sp>
        <p:nvSpPr>
          <p:cNvPr id="4" name="TextovéPole 3">
            <a:extLst>
              <a:ext uri="{FF2B5EF4-FFF2-40B4-BE49-F238E27FC236}">
                <a16:creationId xmlns:a16="http://schemas.microsoft.com/office/drawing/2014/main" id="{59D3F253-6CCE-4B59-A40E-A7679210B77E}"/>
              </a:ext>
            </a:extLst>
          </p:cNvPr>
          <p:cNvSpPr txBox="1"/>
          <p:nvPr/>
        </p:nvSpPr>
        <p:spPr>
          <a:xfrm>
            <a:off x="8995129" y="680749"/>
            <a:ext cx="3002082" cy="369332"/>
          </a:xfrm>
          <a:prstGeom prst="rect">
            <a:avLst/>
          </a:prstGeom>
          <a:solidFill>
            <a:srgbClr val="D31145"/>
          </a:solidFill>
        </p:spPr>
        <p:txBody>
          <a:bodyPr wrap="square" rtlCol="0">
            <a:spAutoFit/>
          </a:bodyPr>
          <a:lstStyle/>
          <a:p>
            <a:pPr algn="ctr"/>
            <a:r>
              <a:rPr lang="cs-CZ" b="1" dirty="0">
                <a:solidFill>
                  <a:schemeClr val="bg1"/>
                </a:solidFill>
              </a:rPr>
              <a:t>Scénář bazální</a:t>
            </a:r>
            <a:endParaRPr lang="en-US" b="1" dirty="0">
              <a:solidFill>
                <a:schemeClr val="bg1"/>
              </a:solidFill>
            </a:endParaRPr>
          </a:p>
        </p:txBody>
      </p:sp>
    </p:spTree>
    <p:extLst>
      <p:ext uri="{BB962C8B-B14F-4D97-AF65-F5344CB8AC3E}">
        <p14:creationId xmlns:p14="http://schemas.microsoft.com/office/powerpoint/2010/main" val="25996073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381738" y="2"/>
            <a:ext cx="11398457" cy="576000"/>
          </a:xfrm>
        </p:spPr>
        <p:txBody>
          <a:bodyPr/>
          <a:lstStyle/>
          <a:p>
            <a:r>
              <a:rPr lang="cs-CZ" dirty="0"/>
              <a:t>Objem testů během Vánoc významně poklesl, po 27.12. se ale vrátil k vysokým hodnotám </a:t>
            </a:r>
          </a:p>
        </p:txBody>
      </p:sp>
      <p:sp>
        <p:nvSpPr>
          <p:cNvPr id="3" name="Šipka: dolů 2">
            <a:extLst>
              <a:ext uri="{FF2B5EF4-FFF2-40B4-BE49-F238E27FC236}">
                <a16:creationId xmlns:a16="http://schemas.microsoft.com/office/drawing/2014/main" id="{C392A5D9-3113-44AB-99D9-CED51D79AFA9}"/>
              </a:ext>
            </a:extLst>
          </p:cNvPr>
          <p:cNvSpPr/>
          <p:nvPr/>
        </p:nvSpPr>
        <p:spPr>
          <a:xfrm>
            <a:off x="5212596" y="2681726"/>
            <a:ext cx="1766807" cy="4184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Obrázek 4">
            <a:extLst>
              <a:ext uri="{FF2B5EF4-FFF2-40B4-BE49-F238E27FC236}">
                <a16:creationId xmlns:a16="http://schemas.microsoft.com/office/drawing/2014/main" id="{C719EAE3-4500-4B58-A968-50D138A33E7B}"/>
              </a:ext>
            </a:extLst>
          </p:cNvPr>
          <p:cNvPicPr>
            <a:picLocks noChangeAspect="1"/>
          </p:cNvPicPr>
          <p:nvPr/>
        </p:nvPicPr>
        <p:blipFill rotWithShape="1">
          <a:blip r:embed="rId4"/>
          <a:srcRect r="8543"/>
          <a:stretch/>
        </p:blipFill>
        <p:spPr>
          <a:xfrm>
            <a:off x="381737" y="789588"/>
            <a:ext cx="11547755" cy="2002249"/>
          </a:xfrm>
          <a:prstGeom prst="rect">
            <a:avLst/>
          </a:prstGeom>
        </p:spPr>
      </p:pic>
      <p:sp>
        <p:nvSpPr>
          <p:cNvPr id="8" name="TextovéPole 7">
            <a:extLst>
              <a:ext uri="{FF2B5EF4-FFF2-40B4-BE49-F238E27FC236}">
                <a16:creationId xmlns:a16="http://schemas.microsoft.com/office/drawing/2014/main" id="{CAC3BC79-92C9-4A31-9E26-9D6F18F11E7F}"/>
              </a:ext>
            </a:extLst>
          </p:cNvPr>
          <p:cNvSpPr txBox="1"/>
          <p:nvPr/>
        </p:nvSpPr>
        <p:spPr>
          <a:xfrm>
            <a:off x="279924" y="3277624"/>
            <a:ext cx="11547755" cy="923330"/>
          </a:xfrm>
          <a:prstGeom prst="rect">
            <a:avLst/>
          </a:prstGeom>
          <a:noFill/>
        </p:spPr>
        <p:txBody>
          <a:bodyPr wrap="square">
            <a:spAutoFit/>
          </a:bodyPr>
          <a:lstStyle/>
          <a:p>
            <a:pPr algn="ctr"/>
            <a:r>
              <a:rPr lang="cs-CZ" dirty="0"/>
              <a:t>Relativní pozitivita testů klesá dlouhodobě, avšak velmi pomalu. Pomalý pokles indikuje stále vysokou prevalenci aktivních nákaz, ale může být také důsledkem nastupující nové varianty viru Omikron, která "na pozadí" klesající vlny Delta postupně přebírá dominanci. V řadě regionů se relativní pozitivita indikovaných testů stále drží na rizikové úrovni kolem 30%. </a:t>
            </a:r>
            <a:endParaRPr lang="en-US" dirty="0"/>
          </a:p>
        </p:txBody>
      </p:sp>
      <p:pic>
        <p:nvPicPr>
          <p:cNvPr id="7" name="Obrázek 6">
            <a:extLst>
              <a:ext uri="{FF2B5EF4-FFF2-40B4-BE49-F238E27FC236}">
                <a16:creationId xmlns:a16="http://schemas.microsoft.com/office/drawing/2014/main" id="{BAB67E35-DC42-46C5-A066-04594A7FA1A9}"/>
              </a:ext>
            </a:extLst>
          </p:cNvPr>
          <p:cNvPicPr>
            <a:picLocks noChangeAspect="1"/>
          </p:cNvPicPr>
          <p:nvPr/>
        </p:nvPicPr>
        <p:blipFill rotWithShape="1">
          <a:blip r:embed="rId5"/>
          <a:srcRect r="8256" b="8304"/>
          <a:stretch/>
        </p:blipFill>
        <p:spPr>
          <a:xfrm>
            <a:off x="578465" y="4915025"/>
            <a:ext cx="11035068" cy="1835971"/>
          </a:xfrm>
          <a:prstGeom prst="rect">
            <a:avLst/>
          </a:prstGeom>
        </p:spPr>
      </p:pic>
      <p:sp>
        <p:nvSpPr>
          <p:cNvPr id="10" name="Šipka: dolů 9">
            <a:extLst>
              <a:ext uri="{FF2B5EF4-FFF2-40B4-BE49-F238E27FC236}">
                <a16:creationId xmlns:a16="http://schemas.microsoft.com/office/drawing/2014/main" id="{053475EA-BA3D-4145-B4A6-4A6AB9732A7E}"/>
              </a:ext>
            </a:extLst>
          </p:cNvPr>
          <p:cNvSpPr/>
          <p:nvPr/>
        </p:nvSpPr>
        <p:spPr>
          <a:xfrm>
            <a:off x="5212596" y="4265521"/>
            <a:ext cx="1766807" cy="4184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68156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08B76EB3-0D21-4902-A247-0C09C2A3B71F}"/>
              </a:ext>
            </a:extLst>
          </p:cNvPr>
          <p:cNvPicPr>
            <a:picLocks noChangeAspect="1"/>
          </p:cNvPicPr>
          <p:nvPr/>
        </p:nvPicPr>
        <p:blipFill>
          <a:blip r:embed="rId3"/>
          <a:stretch>
            <a:fillRect/>
          </a:stretch>
        </p:blipFill>
        <p:spPr>
          <a:xfrm>
            <a:off x="814033" y="2177175"/>
            <a:ext cx="7250497" cy="3240000"/>
          </a:xfrm>
          <a:prstGeom prst="rect">
            <a:avLst/>
          </a:prstGeom>
        </p:spPr>
      </p:pic>
      <p:sp>
        <p:nvSpPr>
          <p:cNvPr id="23" name="TextovéPole 12">
            <a:extLst>
              <a:ext uri="{FF2B5EF4-FFF2-40B4-BE49-F238E27FC236}">
                <a16:creationId xmlns:a16="http://schemas.microsoft.com/office/drawing/2014/main" id="{9119B67F-49E4-4A7A-BA36-DAE66AAD4855}"/>
              </a:ext>
            </a:extLst>
          </p:cNvPr>
          <p:cNvSpPr txBox="1"/>
          <p:nvPr/>
        </p:nvSpPr>
        <p:spPr>
          <a:xfrm rot="16200000">
            <a:off x="-814628" y="3752190"/>
            <a:ext cx="3032408"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Nové případy onemocnění za den</a:t>
            </a:r>
          </a:p>
        </p:txBody>
      </p:sp>
      <p:sp>
        <p:nvSpPr>
          <p:cNvPr id="16" name="TextovéPole 15">
            <a:extLst>
              <a:ext uri="{FF2B5EF4-FFF2-40B4-BE49-F238E27FC236}">
                <a16:creationId xmlns:a16="http://schemas.microsoft.com/office/drawing/2014/main" id="{C11F9500-ED81-45FD-AF3C-90840EEBF1C3}"/>
              </a:ext>
            </a:extLst>
          </p:cNvPr>
          <p:cNvSpPr txBox="1"/>
          <p:nvPr/>
        </p:nvSpPr>
        <p:spPr>
          <a:xfrm>
            <a:off x="169916" y="6054090"/>
            <a:ext cx="80344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Snímek prezentuje výsledky simulace prostřednictvím epidemiologického modelu </a:t>
            </a:r>
            <a:r>
              <a:rPr kumimoji="0" lang="cs-CZ" sz="1100" b="0" i="1" u="none" strike="noStrike" kern="1200" cap="none" spc="0" normalizeH="0" baseline="0" noProof="0" dirty="0" err="1">
                <a:ln>
                  <a:noFill/>
                </a:ln>
                <a:solidFill>
                  <a:prstClr val="black"/>
                </a:solidFill>
                <a:effectLst/>
                <a:uLnTx/>
                <a:uFillTx/>
                <a:latin typeface="Arial" panose="020B0604020202020204"/>
                <a:ea typeface="+mn-ea"/>
                <a:cs typeface="+mn-cs"/>
              </a:rPr>
              <a:t>SEIRV</a:t>
            </a: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 který zahrnuje vybrané předpoklady a slouží ke zkoumání dopadu změny různých parametrů epidemie. Vzhledem k neurčitostem ve struktuře modelu (například limitované znalosti o skutečné vnímavosti populace k viru a k jeho novým variantám) je nezbytné výsledky brát jako orientační, umožňující zejména celkové srovnávání jednotlivých scénářů, nikoli konkrétní předpověď pro určité období. </a:t>
            </a:r>
          </a:p>
        </p:txBody>
      </p:sp>
      <p:graphicFrame>
        <p:nvGraphicFramePr>
          <p:cNvPr id="21" name="Tabulka 10">
            <a:extLst>
              <a:ext uri="{FF2B5EF4-FFF2-40B4-BE49-F238E27FC236}">
                <a16:creationId xmlns:a16="http://schemas.microsoft.com/office/drawing/2014/main" id="{E5273A5B-6F76-4409-B5F3-FB52F2CC9C0A}"/>
              </a:ext>
            </a:extLst>
          </p:cNvPr>
          <p:cNvGraphicFramePr>
            <a:graphicFrameLocks noGrp="1"/>
          </p:cNvGraphicFramePr>
          <p:nvPr>
            <p:extLst>
              <p:ext uri="{D42A27DB-BD31-4B8C-83A1-F6EECF244321}">
                <p14:modId xmlns:p14="http://schemas.microsoft.com/office/powerpoint/2010/main" val="1810729421"/>
              </p:ext>
            </p:extLst>
          </p:nvPr>
        </p:nvGraphicFramePr>
        <p:xfrm>
          <a:off x="206492" y="5457290"/>
          <a:ext cx="7738918" cy="555387"/>
        </p:xfrm>
        <a:graphic>
          <a:graphicData uri="http://schemas.openxmlformats.org/drawingml/2006/table">
            <a:tbl>
              <a:tblPr firstRow="1" bandRow="1">
                <a:tableStyleId>{5C22544A-7EE6-4342-B048-85BDC9FD1C3A}</a:tableStyleId>
              </a:tblPr>
              <a:tblGrid>
                <a:gridCol w="1165108">
                  <a:extLst>
                    <a:ext uri="{9D8B030D-6E8A-4147-A177-3AD203B41FA5}">
                      <a16:colId xmlns:a16="http://schemas.microsoft.com/office/drawing/2014/main" val="2668584180"/>
                    </a:ext>
                  </a:extLst>
                </a:gridCol>
                <a:gridCol w="1314762">
                  <a:extLst>
                    <a:ext uri="{9D8B030D-6E8A-4147-A177-3AD203B41FA5}">
                      <a16:colId xmlns:a16="http://schemas.microsoft.com/office/drawing/2014/main" val="805271721"/>
                    </a:ext>
                  </a:extLst>
                </a:gridCol>
                <a:gridCol w="1314762">
                  <a:extLst>
                    <a:ext uri="{9D8B030D-6E8A-4147-A177-3AD203B41FA5}">
                      <a16:colId xmlns:a16="http://schemas.microsoft.com/office/drawing/2014/main" val="148378157"/>
                    </a:ext>
                  </a:extLst>
                </a:gridCol>
                <a:gridCol w="1314762">
                  <a:extLst>
                    <a:ext uri="{9D8B030D-6E8A-4147-A177-3AD203B41FA5}">
                      <a16:colId xmlns:a16="http://schemas.microsoft.com/office/drawing/2014/main" val="3981597030"/>
                    </a:ext>
                  </a:extLst>
                </a:gridCol>
                <a:gridCol w="1314762">
                  <a:extLst>
                    <a:ext uri="{9D8B030D-6E8A-4147-A177-3AD203B41FA5}">
                      <a16:colId xmlns:a16="http://schemas.microsoft.com/office/drawing/2014/main" val="2471926991"/>
                    </a:ext>
                  </a:extLst>
                </a:gridCol>
                <a:gridCol w="1314762">
                  <a:extLst>
                    <a:ext uri="{9D8B030D-6E8A-4147-A177-3AD203B41FA5}">
                      <a16:colId xmlns:a16="http://schemas.microsoft.com/office/drawing/2014/main" val="3338665376"/>
                    </a:ext>
                  </a:extLst>
                </a:gridCol>
              </a:tblGrid>
              <a:tr h="275016">
                <a:tc>
                  <a:txBody>
                    <a:bodyPr/>
                    <a:lstStyle/>
                    <a:p>
                      <a:pPr algn="ctr" fontAlgn="b"/>
                      <a:endParaRPr lang="cs-CZ" sz="1400" b="1" i="0" u="none" strike="noStrike" noProof="0" dirty="0">
                        <a:solidFill>
                          <a:schemeClr val="tx1"/>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září</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říj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listopa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prosine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en-US" sz="1400" b="0" i="0" u="none" strike="noStrike" dirty="0" err="1">
                          <a:solidFill>
                            <a:srgbClr val="000000"/>
                          </a:solidFill>
                          <a:effectLst/>
                          <a:latin typeface="Calibri" panose="020F0502020204030204" pitchFamily="34" charset="0"/>
                        </a:rPr>
                        <a:t>leden</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408861870"/>
                  </a:ext>
                </a:extLst>
              </a:tr>
              <a:tr h="280371">
                <a:tc>
                  <a:txBody>
                    <a:bodyPr/>
                    <a:lstStyle/>
                    <a:p>
                      <a:pPr algn="ctr" fontAlgn="b"/>
                      <a:r>
                        <a:rPr lang="cs-CZ" sz="1400" b="1" i="0" u="none" strike="noStrike" noProof="0">
                          <a:solidFill>
                            <a:schemeClr val="tx1"/>
                          </a:solidFill>
                          <a:effectLst/>
                          <a:latin typeface="Calibri" panose="020F0502020204030204" pitchFamily="34" charset="0"/>
                        </a:rPr>
                        <a:t>Nově za měsíc</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4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16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Calibri" panose="020F0502020204030204" pitchFamily="34" charset="0"/>
                        </a:rPr>
                        <a:t>450 000</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30</a:t>
                      </a:r>
                      <a:r>
                        <a:rPr lang="en-US" sz="1400" b="0" i="0" u="none" strike="noStrike" dirty="0">
                          <a:solidFill>
                            <a:srgbClr val="000000"/>
                          </a:solidFill>
                          <a:effectLst/>
                          <a:latin typeface="Calibri" panose="020F0502020204030204" pitchFamily="34" charset="0"/>
                        </a:rPr>
                        <a:t>0</a:t>
                      </a:r>
                      <a:r>
                        <a:rPr lang="cs-CZ" sz="1400" b="0" i="0" u="none" strike="noStrike" dirty="0">
                          <a:solidFill>
                            <a:srgbClr val="000000"/>
                          </a:solidFill>
                          <a:effectLst/>
                          <a:latin typeface="Calibri" panose="020F0502020204030204" pitchFamily="34" charset="0"/>
                        </a:rPr>
                        <a:t>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73950241"/>
                  </a:ext>
                </a:extLst>
              </a:tr>
            </a:tbl>
          </a:graphicData>
        </a:graphic>
      </p:graphicFrame>
      <p:sp>
        <p:nvSpPr>
          <p:cNvPr id="15" name="TextovéPole 14">
            <a:extLst>
              <a:ext uri="{FF2B5EF4-FFF2-40B4-BE49-F238E27FC236}">
                <a16:creationId xmlns:a16="http://schemas.microsoft.com/office/drawing/2014/main" id="{F2D0ABDF-D70C-42D4-9DD7-0E8DFBFEAE48}"/>
              </a:ext>
            </a:extLst>
          </p:cNvPr>
          <p:cNvSpPr txBox="1"/>
          <p:nvPr/>
        </p:nvSpPr>
        <p:spPr>
          <a:xfrm>
            <a:off x="200608" y="198705"/>
            <a:ext cx="11796603" cy="400110"/>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Základní výstup simulačního modelu: scénář 1 – dopad varianty Omikron bez významného průlomu imunity</a:t>
            </a:r>
          </a:p>
        </p:txBody>
      </p:sp>
      <p:sp>
        <p:nvSpPr>
          <p:cNvPr id="17" name="TextovéPole 25">
            <a:extLst>
              <a:ext uri="{FF2B5EF4-FFF2-40B4-BE49-F238E27FC236}">
                <a16:creationId xmlns:a16="http://schemas.microsoft.com/office/drawing/2014/main" id="{E1F0E25E-6A0F-413C-A961-67D5A56AC186}"/>
              </a:ext>
            </a:extLst>
          </p:cNvPr>
          <p:cNvSpPr txBox="1"/>
          <p:nvPr/>
        </p:nvSpPr>
        <p:spPr>
          <a:xfrm>
            <a:off x="338328" y="1428086"/>
            <a:ext cx="4869176" cy="276999"/>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bez periodicity v rámci týdne, odpovídá cca týdenním klouzavým průměrům</a:t>
            </a:r>
          </a:p>
        </p:txBody>
      </p:sp>
      <p:cxnSp>
        <p:nvCxnSpPr>
          <p:cNvPr id="19" name="Přímá spojnice 18">
            <a:extLst>
              <a:ext uri="{FF2B5EF4-FFF2-40B4-BE49-F238E27FC236}">
                <a16:creationId xmlns:a16="http://schemas.microsoft.com/office/drawing/2014/main" id="{4BB92862-FE07-40D4-A96F-0C14187923E4}"/>
              </a:ext>
            </a:extLst>
          </p:cNvPr>
          <p:cNvCxnSpPr/>
          <p:nvPr/>
        </p:nvCxnSpPr>
        <p:spPr>
          <a:xfrm>
            <a:off x="5641449" y="1294480"/>
            <a:ext cx="496389" cy="174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0" name="TextovéPole 24">
            <a:extLst>
              <a:ext uri="{FF2B5EF4-FFF2-40B4-BE49-F238E27FC236}">
                <a16:creationId xmlns:a16="http://schemas.microsoft.com/office/drawing/2014/main" id="{E0D39CAA-1333-4347-9C20-3AAC85B3D439}"/>
              </a:ext>
            </a:extLst>
          </p:cNvPr>
          <p:cNvSpPr txBox="1"/>
          <p:nvPr/>
        </p:nvSpPr>
        <p:spPr>
          <a:xfrm>
            <a:off x="6172672" y="1132016"/>
            <a:ext cx="2010177"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Model (simulace)</a:t>
            </a:r>
          </a:p>
        </p:txBody>
      </p:sp>
      <p:sp>
        <p:nvSpPr>
          <p:cNvPr id="22" name="TextovéPole 21">
            <a:extLst>
              <a:ext uri="{FF2B5EF4-FFF2-40B4-BE49-F238E27FC236}">
                <a16:creationId xmlns:a16="http://schemas.microsoft.com/office/drawing/2014/main" id="{CD4B5FAE-055F-4A24-A99C-0072C44D1E93}"/>
              </a:ext>
            </a:extLst>
          </p:cNvPr>
          <p:cNvSpPr txBox="1"/>
          <p:nvPr/>
        </p:nvSpPr>
        <p:spPr>
          <a:xfrm>
            <a:off x="338328" y="957028"/>
            <a:ext cx="54251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C000"/>
                </a:solidFill>
                <a:effectLst/>
                <a:uLnTx/>
                <a:uFillTx/>
                <a:latin typeface="Calibri" panose="020F0502020204030204"/>
                <a:ea typeface="+mn-ea"/>
                <a:cs typeface="+mn-cs"/>
              </a:rPr>
              <a:t>oranžově</a:t>
            </a: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dosud pozorovaná reálná data</a:t>
            </a:r>
            <a:b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7denní klouzavý průměr, časové </a:t>
            </a:r>
            <a:r>
              <a:rPr kumimoji="0" lang="cs-CZ" sz="1200" b="0" i="0" u="sng" strike="noStrike" kern="1200" cap="none" spc="0" normalizeH="0" baseline="0" noProof="0" dirty="0">
                <a:ln>
                  <a:noFill/>
                </a:ln>
                <a:solidFill>
                  <a:prstClr val="black"/>
                </a:solidFill>
                <a:effectLst/>
                <a:uLnTx/>
                <a:uFillTx/>
                <a:latin typeface="Calibri" panose="020F0502020204030204"/>
                <a:ea typeface="+mn-ea"/>
                <a:cs typeface="+mn-cs"/>
              </a:rPr>
              <a:t>zpoždění k hlášení 4 dny</a:t>
            </a:r>
            <a:endParaRPr kumimoji="0" lang="cs-CZ" sz="16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Podnadpis 2">
            <a:extLst>
              <a:ext uri="{FF2B5EF4-FFF2-40B4-BE49-F238E27FC236}">
                <a16:creationId xmlns:a16="http://schemas.microsoft.com/office/drawing/2014/main" id="{0C0CE2CB-6CBE-430E-8CC4-E423A78C245D}"/>
              </a:ext>
            </a:extLst>
          </p:cNvPr>
          <p:cNvSpPr txBox="1">
            <a:spLocks/>
          </p:cNvSpPr>
          <p:nvPr>
            <p:custDataLst>
              <p:tags r:id="rId1"/>
            </p:custDataLst>
          </p:nvPr>
        </p:nvSpPr>
        <p:spPr>
          <a:xfrm>
            <a:off x="8204340" y="1865433"/>
            <a:ext cx="3831783" cy="45134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Model simulující situaci s navýšením základní reprodukce viru o 100% (realistický scénář), spojeno s předpokladem počtu rizikových kontaktů v populaci bez redukce. </a:t>
            </a:r>
            <a:r>
              <a:rPr lang="cs-CZ" sz="2000" b="1" dirty="0">
                <a:solidFill>
                  <a:srgbClr val="0000FF"/>
                </a:solidFill>
                <a:latin typeface="Calibri" panose="020F0502020204030204"/>
              </a:rPr>
              <a:t>Předpoklady kalkulují pouze s nákazou pravděpodobně primárně citlivé populace, tedy osob bez jakékoli imunitní ochrany (nákaza, vakcinace) v uplynulých 6 měsících: cca 3 mil. osob, z toho 300 – 400tis. zdravotně zranitelných. </a:t>
            </a: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Výstup dokládá potenciál </a:t>
            </a:r>
            <a:r>
              <a:rPr kumimoji="0" lang="cs-CZ" sz="2000" b="1" i="0" u="none" strike="noStrike" kern="1200" cap="none" spc="0" normalizeH="0" baseline="0" noProof="0" dirty="0" err="1">
                <a:ln>
                  <a:noFill/>
                </a:ln>
                <a:solidFill>
                  <a:srgbClr val="0000FF"/>
                </a:solidFill>
                <a:effectLst/>
                <a:uLnTx/>
                <a:uFillTx/>
                <a:latin typeface="Calibri" panose="020F0502020204030204"/>
                <a:ea typeface="+mn-ea"/>
                <a:cs typeface="+mn-cs"/>
              </a:rPr>
              <a:t>Omicronu</a:t>
            </a: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 dosáhnout minimálně stejné zátěže populace jako varianta Delta.   </a:t>
            </a:r>
          </a:p>
        </p:txBody>
      </p:sp>
      <p:sp>
        <p:nvSpPr>
          <p:cNvPr id="13" name="TextovéPole 12">
            <a:extLst>
              <a:ext uri="{FF2B5EF4-FFF2-40B4-BE49-F238E27FC236}">
                <a16:creationId xmlns:a16="http://schemas.microsoft.com/office/drawing/2014/main" id="{F4625089-AD56-4AA9-ACB8-E6DCD218A5EE}"/>
              </a:ext>
            </a:extLst>
          </p:cNvPr>
          <p:cNvSpPr txBox="1"/>
          <p:nvPr/>
        </p:nvSpPr>
        <p:spPr>
          <a:xfrm>
            <a:off x="8995129" y="680749"/>
            <a:ext cx="3002082" cy="369332"/>
          </a:xfrm>
          <a:prstGeom prst="rect">
            <a:avLst/>
          </a:prstGeom>
          <a:solidFill>
            <a:srgbClr val="D31145"/>
          </a:solidFill>
        </p:spPr>
        <p:txBody>
          <a:bodyPr wrap="square" rtlCol="0">
            <a:spAutoFit/>
          </a:bodyPr>
          <a:lstStyle/>
          <a:p>
            <a:pPr algn="ctr"/>
            <a:r>
              <a:rPr lang="cs-CZ" b="1" dirty="0">
                <a:solidFill>
                  <a:schemeClr val="bg1"/>
                </a:solidFill>
              </a:rPr>
              <a:t>Scénář realistický</a:t>
            </a:r>
            <a:endParaRPr lang="en-US" b="1" dirty="0">
              <a:solidFill>
                <a:schemeClr val="bg1"/>
              </a:solidFill>
            </a:endParaRPr>
          </a:p>
        </p:txBody>
      </p:sp>
    </p:spTree>
    <p:extLst>
      <p:ext uri="{BB962C8B-B14F-4D97-AF65-F5344CB8AC3E}">
        <p14:creationId xmlns:p14="http://schemas.microsoft.com/office/powerpoint/2010/main" val="1264542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F828E04C-84CD-4220-B435-E399ACBD1D00}"/>
              </a:ext>
            </a:extLst>
          </p:cNvPr>
          <p:cNvPicPr>
            <a:picLocks noChangeAspect="1"/>
          </p:cNvPicPr>
          <p:nvPr/>
        </p:nvPicPr>
        <p:blipFill>
          <a:blip r:embed="rId3"/>
          <a:stretch>
            <a:fillRect/>
          </a:stretch>
        </p:blipFill>
        <p:spPr>
          <a:xfrm>
            <a:off x="817207" y="2177600"/>
            <a:ext cx="7250497" cy="3240000"/>
          </a:xfrm>
          <a:prstGeom prst="rect">
            <a:avLst/>
          </a:prstGeom>
        </p:spPr>
      </p:pic>
      <p:sp>
        <p:nvSpPr>
          <p:cNvPr id="23" name="TextovéPole 12">
            <a:extLst>
              <a:ext uri="{FF2B5EF4-FFF2-40B4-BE49-F238E27FC236}">
                <a16:creationId xmlns:a16="http://schemas.microsoft.com/office/drawing/2014/main" id="{9119B67F-49E4-4A7A-BA36-DAE66AAD4855}"/>
              </a:ext>
            </a:extLst>
          </p:cNvPr>
          <p:cNvSpPr txBox="1"/>
          <p:nvPr/>
        </p:nvSpPr>
        <p:spPr>
          <a:xfrm rot="16200000">
            <a:off x="-814628" y="3752190"/>
            <a:ext cx="3032408"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Nové případy onemocnění za den</a:t>
            </a:r>
          </a:p>
        </p:txBody>
      </p:sp>
      <p:sp>
        <p:nvSpPr>
          <p:cNvPr id="16" name="TextovéPole 15">
            <a:extLst>
              <a:ext uri="{FF2B5EF4-FFF2-40B4-BE49-F238E27FC236}">
                <a16:creationId xmlns:a16="http://schemas.microsoft.com/office/drawing/2014/main" id="{C11F9500-ED81-45FD-AF3C-90840EEBF1C3}"/>
              </a:ext>
            </a:extLst>
          </p:cNvPr>
          <p:cNvSpPr txBox="1"/>
          <p:nvPr/>
        </p:nvSpPr>
        <p:spPr>
          <a:xfrm>
            <a:off x="169916" y="6054090"/>
            <a:ext cx="80344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Snímek prezentuje výsledky simulace prostřednictvím epidemiologického modelu </a:t>
            </a:r>
            <a:r>
              <a:rPr kumimoji="0" lang="cs-CZ" sz="1100" b="0" i="1" u="none" strike="noStrike" kern="1200" cap="none" spc="0" normalizeH="0" baseline="0" noProof="0" dirty="0" err="1">
                <a:ln>
                  <a:noFill/>
                </a:ln>
                <a:solidFill>
                  <a:prstClr val="black"/>
                </a:solidFill>
                <a:effectLst/>
                <a:uLnTx/>
                <a:uFillTx/>
                <a:latin typeface="Arial" panose="020B0604020202020204"/>
                <a:ea typeface="+mn-ea"/>
                <a:cs typeface="+mn-cs"/>
              </a:rPr>
              <a:t>SEIRV</a:t>
            </a: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 který zahrnuje vybrané předpoklady a slouží ke zkoumání dopadu změny různých parametrů epidemie. Vzhledem k neurčitostem ve struktuře modelu (například limitované znalosti o skutečné vnímavosti populace k viru a k jeho novým variantám) je nezbytné výsledky brát jako orientační, umožňující zejména celkové srovnávání jednotlivých scénářů, nikoli konkrétní předpověď pro určité období. </a:t>
            </a:r>
          </a:p>
        </p:txBody>
      </p:sp>
      <p:graphicFrame>
        <p:nvGraphicFramePr>
          <p:cNvPr id="21" name="Tabulka 10">
            <a:extLst>
              <a:ext uri="{FF2B5EF4-FFF2-40B4-BE49-F238E27FC236}">
                <a16:creationId xmlns:a16="http://schemas.microsoft.com/office/drawing/2014/main" id="{E5273A5B-6F76-4409-B5F3-FB52F2CC9C0A}"/>
              </a:ext>
            </a:extLst>
          </p:cNvPr>
          <p:cNvGraphicFramePr>
            <a:graphicFrameLocks noGrp="1"/>
          </p:cNvGraphicFramePr>
          <p:nvPr>
            <p:extLst>
              <p:ext uri="{D42A27DB-BD31-4B8C-83A1-F6EECF244321}">
                <p14:modId xmlns:p14="http://schemas.microsoft.com/office/powerpoint/2010/main" val="2663146680"/>
              </p:ext>
            </p:extLst>
          </p:nvPr>
        </p:nvGraphicFramePr>
        <p:xfrm>
          <a:off x="206492" y="5457290"/>
          <a:ext cx="7738918" cy="555387"/>
        </p:xfrm>
        <a:graphic>
          <a:graphicData uri="http://schemas.openxmlformats.org/drawingml/2006/table">
            <a:tbl>
              <a:tblPr firstRow="1" bandRow="1">
                <a:tableStyleId>{5C22544A-7EE6-4342-B048-85BDC9FD1C3A}</a:tableStyleId>
              </a:tblPr>
              <a:tblGrid>
                <a:gridCol w="1165108">
                  <a:extLst>
                    <a:ext uri="{9D8B030D-6E8A-4147-A177-3AD203B41FA5}">
                      <a16:colId xmlns:a16="http://schemas.microsoft.com/office/drawing/2014/main" val="2668584180"/>
                    </a:ext>
                  </a:extLst>
                </a:gridCol>
                <a:gridCol w="1314762">
                  <a:extLst>
                    <a:ext uri="{9D8B030D-6E8A-4147-A177-3AD203B41FA5}">
                      <a16:colId xmlns:a16="http://schemas.microsoft.com/office/drawing/2014/main" val="805271721"/>
                    </a:ext>
                  </a:extLst>
                </a:gridCol>
                <a:gridCol w="1314762">
                  <a:extLst>
                    <a:ext uri="{9D8B030D-6E8A-4147-A177-3AD203B41FA5}">
                      <a16:colId xmlns:a16="http://schemas.microsoft.com/office/drawing/2014/main" val="148378157"/>
                    </a:ext>
                  </a:extLst>
                </a:gridCol>
                <a:gridCol w="1314762">
                  <a:extLst>
                    <a:ext uri="{9D8B030D-6E8A-4147-A177-3AD203B41FA5}">
                      <a16:colId xmlns:a16="http://schemas.microsoft.com/office/drawing/2014/main" val="3981597030"/>
                    </a:ext>
                  </a:extLst>
                </a:gridCol>
                <a:gridCol w="1314762">
                  <a:extLst>
                    <a:ext uri="{9D8B030D-6E8A-4147-A177-3AD203B41FA5}">
                      <a16:colId xmlns:a16="http://schemas.microsoft.com/office/drawing/2014/main" val="2471926991"/>
                    </a:ext>
                  </a:extLst>
                </a:gridCol>
                <a:gridCol w="1314762">
                  <a:extLst>
                    <a:ext uri="{9D8B030D-6E8A-4147-A177-3AD203B41FA5}">
                      <a16:colId xmlns:a16="http://schemas.microsoft.com/office/drawing/2014/main" val="3338665376"/>
                    </a:ext>
                  </a:extLst>
                </a:gridCol>
              </a:tblGrid>
              <a:tr h="275016">
                <a:tc>
                  <a:txBody>
                    <a:bodyPr/>
                    <a:lstStyle/>
                    <a:p>
                      <a:pPr algn="ctr" fontAlgn="b"/>
                      <a:endParaRPr lang="cs-CZ" sz="1400" b="1" i="0" u="none" strike="noStrike" noProof="0" dirty="0">
                        <a:solidFill>
                          <a:schemeClr val="tx1"/>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září</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říj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listopa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prosine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en-US" sz="1400" b="0" i="0" u="none" strike="noStrike" dirty="0" err="1">
                          <a:solidFill>
                            <a:srgbClr val="000000"/>
                          </a:solidFill>
                          <a:effectLst/>
                          <a:latin typeface="Calibri" panose="020F0502020204030204" pitchFamily="34" charset="0"/>
                        </a:rPr>
                        <a:t>leden</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408861870"/>
                  </a:ext>
                </a:extLst>
              </a:tr>
              <a:tr h="280371">
                <a:tc>
                  <a:txBody>
                    <a:bodyPr/>
                    <a:lstStyle/>
                    <a:p>
                      <a:pPr algn="ctr" fontAlgn="b"/>
                      <a:r>
                        <a:rPr lang="cs-CZ" sz="1400" b="1" i="0" u="none" strike="noStrike" noProof="0">
                          <a:solidFill>
                            <a:schemeClr val="tx1"/>
                          </a:solidFill>
                          <a:effectLst/>
                          <a:latin typeface="Calibri" panose="020F0502020204030204" pitchFamily="34" charset="0"/>
                        </a:rPr>
                        <a:t>Nově za měsíc</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4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16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Calibri" panose="020F0502020204030204" pitchFamily="34" charset="0"/>
                        </a:rPr>
                        <a:t>450 000</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30</a:t>
                      </a:r>
                      <a:r>
                        <a:rPr lang="en-US" sz="1400" b="0" i="0" u="none" strike="noStrike" dirty="0">
                          <a:solidFill>
                            <a:srgbClr val="000000"/>
                          </a:solidFill>
                          <a:effectLst/>
                          <a:latin typeface="Calibri" panose="020F0502020204030204" pitchFamily="34" charset="0"/>
                        </a:rPr>
                        <a:t>0</a:t>
                      </a:r>
                      <a:r>
                        <a:rPr lang="cs-CZ" sz="1400" b="0" i="0" u="none" strike="noStrike" dirty="0">
                          <a:solidFill>
                            <a:srgbClr val="000000"/>
                          </a:solidFill>
                          <a:effectLst/>
                          <a:latin typeface="Calibri" panose="020F0502020204030204" pitchFamily="34" charset="0"/>
                        </a:rPr>
                        <a:t>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73950241"/>
                  </a:ext>
                </a:extLst>
              </a:tr>
            </a:tbl>
          </a:graphicData>
        </a:graphic>
      </p:graphicFrame>
      <p:sp>
        <p:nvSpPr>
          <p:cNvPr id="20" name="TextovéPole 19">
            <a:extLst>
              <a:ext uri="{FF2B5EF4-FFF2-40B4-BE49-F238E27FC236}">
                <a16:creationId xmlns:a16="http://schemas.microsoft.com/office/drawing/2014/main" id="{560D8AF0-08BD-4D53-B2D7-47FDBF81B7A1}"/>
              </a:ext>
            </a:extLst>
          </p:cNvPr>
          <p:cNvSpPr txBox="1"/>
          <p:nvPr/>
        </p:nvSpPr>
        <p:spPr>
          <a:xfrm>
            <a:off x="200608" y="198705"/>
            <a:ext cx="11796603" cy="400110"/>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Základní výstup simulačního modelu: scénář C – scénář 2 kalkulující se všemi rizikovými parametry Omikronu</a:t>
            </a:r>
          </a:p>
        </p:txBody>
      </p:sp>
      <p:sp>
        <p:nvSpPr>
          <p:cNvPr id="22" name="TextovéPole 25">
            <a:extLst>
              <a:ext uri="{FF2B5EF4-FFF2-40B4-BE49-F238E27FC236}">
                <a16:creationId xmlns:a16="http://schemas.microsoft.com/office/drawing/2014/main" id="{FA8D0941-D842-4560-9B0D-7D37319DDC3B}"/>
              </a:ext>
            </a:extLst>
          </p:cNvPr>
          <p:cNvSpPr txBox="1"/>
          <p:nvPr/>
        </p:nvSpPr>
        <p:spPr>
          <a:xfrm>
            <a:off x="338328" y="1428086"/>
            <a:ext cx="4869176" cy="276999"/>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bez periodicity v rámci týdne, odpovídá cca týdenním klouzavým průměrům</a:t>
            </a:r>
          </a:p>
        </p:txBody>
      </p:sp>
      <p:cxnSp>
        <p:nvCxnSpPr>
          <p:cNvPr id="24" name="Přímá spojnice 23">
            <a:extLst>
              <a:ext uri="{FF2B5EF4-FFF2-40B4-BE49-F238E27FC236}">
                <a16:creationId xmlns:a16="http://schemas.microsoft.com/office/drawing/2014/main" id="{339410D1-6402-42CF-8410-02673F354A9F}"/>
              </a:ext>
            </a:extLst>
          </p:cNvPr>
          <p:cNvCxnSpPr/>
          <p:nvPr/>
        </p:nvCxnSpPr>
        <p:spPr>
          <a:xfrm>
            <a:off x="5641449" y="1294480"/>
            <a:ext cx="496389" cy="174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5" name="TextovéPole 24">
            <a:extLst>
              <a:ext uri="{FF2B5EF4-FFF2-40B4-BE49-F238E27FC236}">
                <a16:creationId xmlns:a16="http://schemas.microsoft.com/office/drawing/2014/main" id="{4F5966C3-E48B-449D-B23A-3D7D0C336AD2}"/>
              </a:ext>
            </a:extLst>
          </p:cNvPr>
          <p:cNvSpPr txBox="1"/>
          <p:nvPr/>
        </p:nvSpPr>
        <p:spPr>
          <a:xfrm>
            <a:off x="6172672" y="1132016"/>
            <a:ext cx="2010177"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Model (simulace)</a:t>
            </a:r>
          </a:p>
        </p:txBody>
      </p:sp>
      <p:sp>
        <p:nvSpPr>
          <p:cNvPr id="26" name="TextovéPole 25">
            <a:extLst>
              <a:ext uri="{FF2B5EF4-FFF2-40B4-BE49-F238E27FC236}">
                <a16:creationId xmlns:a16="http://schemas.microsoft.com/office/drawing/2014/main" id="{54DA9903-4313-45C3-965F-4696F2D5D194}"/>
              </a:ext>
            </a:extLst>
          </p:cNvPr>
          <p:cNvSpPr txBox="1"/>
          <p:nvPr/>
        </p:nvSpPr>
        <p:spPr>
          <a:xfrm>
            <a:off x="338328" y="957028"/>
            <a:ext cx="54251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C000"/>
                </a:solidFill>
                <a:effectLst/>
                <a:uLnTx/>
                <a:uFillTx/>
                <a:latin typeface="Calibri" panose="020F0502020204030204"/>
                <a:ea typeface="+mn-ea"/>
                <a:cs typeface="+mn-cs"/>
              </a:rPr>
              <a:t>oranžově</a:t>
            </a: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dosud pozorovaná reálná data</a:t>
            </a:r>
            <a:b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7denní klouzavý průměr, časové </a:t>
            </a:r>
            <a:r>
              <a:rPr kumimoji="0" lang="cs-CZ" sz="1200" b="0" i="0" u="sng" strike="noStrike" kern="1200" cap="none" spc="0" normalizeH="0" baseline="0" noProof="0" dirty="0">
                <a:ln>
                  <a:noFill/>
                </a:ln>
                <a:solidFill>
                  <a:prstClr val="black"/>
                </a:solidFill>
                <a:effectLst/>
                <a:uLnTx/>
                <a:uFillTx/>
                <a:latin typeface="Calibri" panose="020F0502020204030204"/>
                <a:ea typeface="+mn-ea"/>
                <a:cs typeface="+mn-cs"/>
              </a:rPr>
              <a:t>zpoždění k hlášení 4 dny</a:t>
            </a:r>
            <a:endParaRPr kumimoji="0" lang="cs-CZ" sz="16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ovéPole 11">
            <a:extLst>
              <a:ext uri="{FF2B5EF4-FFF2-40B4-BE49-F238E27FC236}">
                <a16:creationId xmlns:a16="http://schemas.microsoft.com/office/drawing/2014/main" id="{FF2EC051-E4E6-4A66-B5DE-119EA9C05828}"/>
              </a:ext>
            </a:extLst>
          </p:cNvPr>
          <p:cNvSpPr txBox="1"/>
          <p:nvPr/>
        </p:nvSpPr>
        <p:spPr>
          <a:xfrm>
            <a:off x="8995129" y="680749"/>
            <a:ext cx="3002082" cy="369332"/>
          </a:xfrm>
          <a:prstGeom prst="rect">
            <a:avLst/>
          </a:prstGeom>
          <a:solidFill>
            <a:srgbClr val="D31145"/>
          </a:solidFill>
        </p:spPr>
        <p:txBody>
          <a:bodyPr wrap="square" rtlCol="0">
            <a:spAutoFit/>
          </a:bodyPr>
          <a:lstStyle/>
          <a:p>
            <a:pPr algn="ctr"/>
            <a:r>
              <a:rPr lang="cs-CZ" b="1" dirty="0">
                <a:solidFill>
                  <a:schemeClr val="bg1"/>
                </a:solidFill>
              </a:rPr>
              <a:t>Scénář rizikový</a:t>
            </a:r>
            <a:endParaRPr lang="en-US" b="1" dirty="0">
              <a:solidFill>
                <a:schemeClr val="bg1"/>
              </a:solidFill>
            </a:endParaRPr>
          </a:p>
        </p:txBody>
      </p:sp>
      <p:sp>
        <p:nvSpPr>
          <p:cNvPr id="13" name="Podnadpis 2">
            <a:extLst>
              <a:ext uri="{FF2B5EF4-FFF2-40B4-BE49-F238E27FC236}">
                <a16:creationId xmlns:a16="http://schemas.microsoft.com/office/drawing/2014/main" id="{71EB9734-F5BC-4D02-A404-FE5B262E3E4F}"/>
              </a:ext>
            </a:extLst>
          </p:cNvPr>
          <p:cNvSpPr txBox="1">
            <a:spLocks/>
          </p:cNvSpPr>
          <p:nvPr>
            <p:custDataLst>
              <p:tags r:id="rId1"/>
            </p:custDataLst>
          </p:nvPr>
        </p:nvSpPr>
        <p:spPr>
          <a:xfrm>
            <a:off x="8204340" y="1865433"/>
            <a:ext cx="3831783" cy="45134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Model simulující situaci s navýšením základní reprodukce viru o 200%, spojeno s předpokladem počtu rizikových kontaktů v populaci bez redukce. Vstupy modelu </a:t>
            </a:r>
            <a:r>
              <a:rPr lang="cs-CZ" sz="2000" b="1" dirty="0">
                <a:solidFill>
                  <a:srgbClr val="0000FF"/>
                </a:solidFill>
                <a:latin typeface="Calibri" panose="020F0502020204030204"/>
              </a:rPr>
              <a:t>dále kalkulují se schopností viru unikat vakcinaci a prolamovat post-infekční imunitu: potenciál nákazy až 6 mil. osob, z toho &gt; 1mil. zdravotně zranitelných. </a:t>
            </a: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Výstup simuluje maximální rizikový potenciál </a:t>
            </a:r>
            <a:r>
              <a:rPr kumimoji="0" lang="cs-CZ" sz="2000" b="1" i="0" u="none" strike="noStrike" kern="1200" cap="none" spc="0" normalizeH="0" baseline="0" noProof="0" dirty="0" err="1">
                <a:ln>
                  <a:noFill/>
                </a:ln>
                <a:solidFill>
                  <a:srgbClr val="0000FF"/>
                </a:solidFill>
                <a:effectLst/>
                <a:uLnTx/>
                <a:uFillTx/>
                <a:latin typeface="Calibri" panose="020F0502020204030204"/>
                <a:ea typeface="+mn-ea"/>
                <a:cs typeface="+mn-cs"/>
              </a:rPr>
              <a:t>Omicronu</a:t>
            </a: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 z hlediska nakažlivosti. Průběh vlny by byl velmi rychlý, s vysokým rizikem zatížení nemocnic (i při významném snížení rizika těžkého průběhu). </a:t>
            </a:r>
          </a:p>
        </p:txBody>
      </p:sp>
    </p:spTree>
    <p:extLst>
      <p:ext uri="{BB962C8B-B14F-4D97-AF65-F5344CB8AC3E}">
        <p14:creationId xmlns:p14="http://schemas.microsoft.com/office/powerpoint/2010/main" val="8475127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207043" y="216637"/>
            <a:ext cx="11454063"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Shrnutí: rizikovost nové varianty Omikron v české populaci </a:t>
            </a:r>
          </a:p>
        </p:txBody>
      </p:sp>
      <p:sp>
        <p:nvSpPr>
          <p:cNvPr id="10" name="Podnadpis 2">
            <a:extLst>
              <a:ext uri="{FF2B5EF4-FFF2-40B4-BE49-F238E27FC236}">
                <a16:creationId xmlns:a16="http://schemas.microsoft.com/office/drawing/2014/main" id="{EB904939-95D7-48F9-9770-330FD4F20F98}"/>
              </a:ext>
            </a:extLst>
          </p:cNvPr>
          <p:cNvSpPr txBox="1">
            <a:spLocks/>
          </p:cNvSpPr>
          <p:nvPr>
            <p:custDataLst>
              <p:tags r:id="rId2"/>
            </p:custDataLst>
          </p:nvPr>
        </p:nvSpPr>
        <p:spPr>
          <a:xfrm>
            <a:off x="207043" y="995684"/>
            <a:ext cx="4812430" cy="5428033"/>
          </a:xfrm>
          <a:prstGeom prst="rect">
            <a:avLst/>
          </a:prstGeom>
          <a:solidFill>
            <a:srgbClr val="D31145"/>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600" i="0" u="none" strike="noStrike" kern="1200" cap="none" spc="0" normalizeH="0" baseline="0" noProof="0" dirty="0">
                <a:ln>
                  <a:noFill/>
                </a:ln>
                <a:solidFill>
                  <a:schemeClr val="bg1"/>
                </a:solidFill>
                <a:effectLst/>
                <a:uLnTx/>
                <a:uFillTx/>
                <a:latin typeface="Calibri" panose="020F0502020204030204"/>
                <a:ea typeface="+mn-ea"/>
                <a:cs typeface="+mn-cs"/>
              </a:rPr>
              <a:t>Klesne efektivní ochrana dvou-dávkových</a:t>
            </a:r>
            <a:r>
              <a:rPr lang="cs-CZ" sz="2600" dirty="0">
                <a:solidFill>
                  <a:schemeClr val="bg1"/>
                </a:solidFill>
                <a:latin typeface="Calibri" panose="020F0502020204030204"/>
              </a:rPr>
              <a:t> vakcín až na úroveň &lt; 35%; ALE booster dávka ochranu opět navýší až k &gt; 70%.</a:t>
            </a:r>
          </a:p>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600" i="0" u="none" strike="noStrike" kern="1200" cap="none" spc="0" normalizeH="0" baseline="0" noProof="0" dirty="0">
                <a:ln>
                  <a:noFill/>
                </a:ln>
                <a:solidFill>
                  <a:schemeClr val="bg1"/>
                </a:solidFill>
                <a:effectLst/>
                <a:uLnTx/>
                <a:uFillTx/>
                <a:latin typeface="Calibri" panose="020F0502020204030204"/>
                <a:ea typeface="+mn-ea"/>
                <a:cs typeface="+mn-cs"/>
              </a:rPr>
              <a:t>Vysoká nakažlivost (</a:t>
            </a:r>
            <a:r>
              <a:rPr kumimoji="0" lang="cs-CZ" sz="2600" i="0" u="none" strike="noStrike" kern="1200" cap="none" spc="0" normalizeH="0" baseline="0" noProof="0" dirty="0" err="1">
                <a:ln>
                  <a:noFill/>
                </a:ln>
                <a:solidFill>
                  <a:schemeClr val="bg1"/>
                </a:solidFill>
                <a:effectLst/>
                <a:uLnTx/>
                <a:uFillTx/>
                <a:latin typeface="Calibri" panose="020F0502020204030204"/>
                <a:ea typeface="+mn-ea"/>
                <a:cs typeface="+mn-cs"/>
              </a:rPr>
              <a:t>doubling</a:t>
            </a:r>
            <a:r>
              <a:rPr kumimoji="0" lang="cs-CZ" sz="2600" i="0" u="none" strike="noStrike" kern="1200" cap="none" spc="0" normalizeH="0" baseline="0" noProof="0" dirty="0">
                <a:ln>
                  <a:noFill/>
                </a:ln>
                <a:solidFill>
                  <a:schemeClr val="bg1"/>
                </a:solidFill>
                <a:effectLst/>
                <a:uLnTx/>
                <a:uFillTx/>
                <a:latin typeface="Calibri" panose="020F0502020204030204"/>
                <a:ea typeface="+mn-ea"/>
                <a:cs typeface="+mn-cs"/>
              </a:rPr>
              <a:t> </a:t>
            </a:r>
            <a:r>
              <a:rPr kumimoji="0" lang="cs-CZ" sz="2600" i="0" u="none" strike="noStrike" kern="1200" cap="none" spc="0" normalizeH="0" baseline="0" noProof="0" dirty="0" err="1">
                <a:ln>
                  <a:noFill/>
                </a:ln>
                <a:solidFill>
                  <a:schemeClr val="bg1"/>
                </a:solidFill>
                <a:effectLst/>
                <a:uLnTx/>
                <a:uFillTx/>
                <a:latin typeface="Calibri" panose="020F0502020204030204"/>
                <a:ea typeface="+mn-ea"/>
                <a:cs typeface="+mn-cs"/>
              </a:rPr>
              <a:t>time</a:t>
            </a:r>
            <a:r>
              <a:rPr kumimoji="0" lang="cs-CZ" sz="2600" i="0" u="none" strike="noStrike" kern="1200" cap="none" spc="0" normalizeH="0" baseline="0" noProof="0" dirty="0">
                <a:ln>
                  <a:noFill/>
                </a:ln>
                <a:solidFill>
                  <a:schemeClr val="bg1"/>
                </a:solidFill>
                <a:effectLst/>
                <a:uLnTx/>
                <a:uFillTx/>
                <a:latin typeface="Calibri" panose="020F0502020204030204"/>
                <a:ea typeface="+mn-ea"/>
                <a:cs typeface="+mn-cs"/>
              </a:rPr>
              <a:t> cca 2 – 3 dny) představuje riziko    i v případě snížené virulence.</a:t>
            </a:r>
          </a:p>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cs-CZ" b="1" dirty="0">
                <a:solidFill>
                  <a:schemeClr val="bg1"/>
                </a:solidFill>
                <a:latin typeface="Calibri" panose="020F0502020204030204"/>
              </a:rPr>
              <a:t>Zásadní ochranou proti těžkému průběhu nemoci představuje pouze očkování. Osoby s posilující dávkou budou významně chráněny i proti nákaze. </a:t>
            </a:r>
            <a:endParaRPr kumimoji="0" lang="cs-CZ" sz="2800" b="1" i="0" u="none" strike="noStrike" kern="1200" cap="none" spc="0" normalizeH="0" baseline="0" noProof="0" dirty="0">
              <a:ln>
                <a:noFill/>
              </a:ln>
              <a:solidFill>
                <a:schemeClr val="bg1"/>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cs-CZ" sz="280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11" name="Šipka: doprava 10">
            <a:extLst>
              <a:ext uri="{FF2B5EF4-FFF2-40B4-BE49-F238E27FC236}">
                <a16:creationId xmlns:a16="http://schemas.microsoft.com/office/drawing/2014/main" id="{7657EA10-77EA-4DA2-935C-3CDB64554133}"/>
              </a:ext>
            </a:extLst>
          </p:cNvPr>
          <p:cNvSpPr/>
          <p:nvPr/>
        </p:nvSpPr>
        <p:spPr>
          <a:xfrm>
            <a:off x="5147554" y="1467967"/>
            <a:ext cx="340468" cy="90467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Šipka: doprava 12">
            <a:extLst>
              <a:ext uri="{FF2B5EF4-FFF2-40B4-BE49-F238E27FC236}">
                <a16:creationId xmlns:a16="http://schemas.microsoft.com/office/drawing/2014/main" id="{9ECF4196-F8C2-49E0-8A86-36C55F37EBA6}"/>
              </a:ext>
            </a:extLst>
          </p:cNvPr>
          <p:cNvSpPr/>
          <p:nvPr/>
        </p:nvSpPr>
        <p:spPr>
          <a:xfrm>
            <a:off x="5147554" y="4289182"/>
            <a:ext cx="340468" cy="90467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ovéPole 2">
            <a:extLst>
              <a:ext uri="{FF2B5EF4-FFF2-40B4-BE49-F238E27FC236}">
                <a16:creationId xmlns:a16="http://schemas.microsoft.com/office/drawing/2014/main" id="{A7829903-D1DB-4A29-BEA5-C22F79450D29}"/>
              </a:ext>
            </a:extLst>
          </p:cNvPr>
          <p:cNvSpPr txBox="1"/>
          <p:nvPr/>
        </p:nvSpPr>
        <p:spPr>
          <a:xfrm>
            <a:off x="5616103" y="894912"/>
            <a:ext cx="6368853" cy="2031325"/>
          </a:xfrm>
          <a:prstGeom prst="rect">
            <a:avLst/>
          </a:prstGeom>
          <a:noFill/>
        </p:spPr>
        <p:txBody>
          <a:bodyPr wrap="square" rtlCol="0">
            <a:spAutoFit/>
          </a:bodyPr>
          <a:lstStyle/>
          <a:p>
            <a:r>
              <a:rPr lang="cs-CZ" b="1" dirty="0">
                <a:solidFill>
                  <a:srgbClr val="FF0000"/>
                </a:solidFill>
              </a:rPr>
              <a:t>Dle realistického scénáře </a:t>
            </a:r>
            <a:r>
              <a:rPr lang="cs-CZ" dirty="0"/>
              <a:t>by byly nakaženy zejména osoby dosud nechráněné očkováním a v uplynulých 6 měsících ani proděláním nemoci. Předpokládaný počet nakažených by odpovídal podzimu 2021, zásah nemocnic by byl cca poloviční proti „vlně Delta“. Rizikem je současná vysoká obsazenost nemocnic, vysoký počet neočkovaných zranitelných osob a rychlost předpokládaného šíření viru.  </a:t>
            </a:r>
            <a:endParaRPr lang="en-US" dirty="0"/>
          </a:p>
        </p:txBody>
      </p:sp>
      <p:sp>
        <p:nvSpPr>
          <p:cNvPr id="14" name="TextovéPole 13">
            <a:extLst>
              <a:ext uri="{FF2B5EF4-FFF2-40B4-BE49-F238E27FC236}">
                <a16:creationId xmlns:a16="http://schemas.microsoft.com/office/drawing/2014/main" id="{95A7132D-E5E1-48EB-AD0C-5912E94E708D}"/>
              </a:ext>
            </a:extLst>
          </p:cNvPr>
          <p:cNvSpPr txBox="1"/>
          <p:nvPr/>
        </p:nvSpPr>
        <p:spPr>
          <a:xfrm>
            <a:off x="5616102" y="3344753"/>
            <a:ext cx="6368853" cy="2862322"/>
          </a:xfrm>
          <a:prstGeom prst="rect">
            <a:avLst/>
          </a:prstGeom>
          <a:noFill/>
        </p:spPr>
        <p:txBody>
          <a:bodyPr wrap="square" rtlCol="0">
            <a:spAutoFit/>
          </a:bodyPr>
          <a:lstStyle/>
          <a:p>
            <a:r>
              <a:rPr lang="cs-CZ" b="1" dirty="0">
                <a:solidFill>
                  <a:srgbClr val="FF0000"/>
                </a:solidFill>
              </a:rPr>
              <a:t>Dle rizikového scénáře </a:t>
            </a:r>
            <a:r>
              <a:rPr lang="cs-CZ" dirty="0"/>
              <a:t>by byly nakaženy osoby dosud nechráněné očkováním a v uplynulých 6 měsících ani proděláním nemoci + osoby, u kterých by došlo k průlomovým infekcím po očkování i po nemoci (až 50% riziko průlomu). Předpokládaný počet nakažených by významně překročil podzim 2021, očkovaní by nicméně byli ve významné většině chráněni proti těžkému průběhu nemoci. Zásah nemocnic by dosáhnul až úrovně „vlny Delta“. Při stávající obsazenosti nemocnic jde o vysoké riziko nezvladatelné zátěže. Rizikem je dále vysoký počet neočkovaných zranitelných osob a extrémní rychlost předpokládaného šíření viru.  </a:t>
            </a:r>
            <a:endParaRPr lang="en-US" dirty="0"/>
          </a:p>
        </p:txBody>
      </p:sp>
      <p:sp>
        <p:nvSpPr>
          <p:cNvPr id="4" name="TextovéPole 3">
            <a:extLst>
              <a:ext uri="{FF2B5EF4-FFF2-40B4-BE49-F238E27FC236}">
                <a16:creationId xmlns:a16="http://schemas.microsoft.com/office/drawing/2014/main" id="{E81FB0E1-8A00-4234-B20A-66C649D4FB76}"/>
              </a:ext>
            </a:extLst>
          </p:cNvPr>
          <p:cNvSpPr txBox="1"/>
          <p:nvPr/>
        </p:nvSpPr>
        <p:spPr>
          <a:xfrm>
            <a:off x="7143142" y="2567699"/>
            <a:ext cx="4812430" cy="646331"/>
          </a:xfrm>
          <a:prstGeom prst="rect">
            <a:avLst/>
          </a:prstGeom>
          <a:solidFill>
            <a:srgbClr val="D31145"/>
          </a:solidFill>
        </p:spPr>
        <p:txBody>
          <a:bodyPr wrap="square" rtlCol="0">
            <a:spAutoFit/>
          </a:bodyPr>
          <a:lstStyle/>
          <a:p>
            <a:r>
              <a:rPr lang="cs-CZ" dirty="0">
                <a:solidFill>
                  <a:schemeClr val="bg1"/>
                </a:solidFill>
              </a:rPr>
              <a:t>V tomto scénáři by zátěž nemocnic podstatně narostla, ale byla by zvládnutelná</a:t>
            </a:r>
            <a:endParaRPr lang="en-US" dirty="0">
              <a:solidFill>
                <a:schemeClr val="bg1"/>
              </a:solidFill>
            </a:endParaRPr>
          </a:p>
        </p:txBody>
      </p:sp>
      <p:sp>
        <p:nvSpPr>
          <p:cNvPr id="15" name="TextovéPole 14">
            <a:extLst>
              <a:ext uri="{FF2B5EF4-FFF2-40B4-BE49-F238E27FC236}">
                <a16:creationId xmlns:a16="http://schemas.microsoft.com/office/drawing/2014/main" id="{9144A333-E2E0-471A-B2A0-D2577CFD9611}"/>
              </a:ext>
            </a:extLst>
          </p:cNvPr>
          <p:cNvSpPr txBox="1"/>
          <p:nvPr/>
        </p:nvSpPr>
        <p:spPr>
          <a:xfrm>
            <a:off x="7226351" y="6142314"/>
            <a:ext cx="4729221" cy="646331"/>
          </a:xfrm>
          <a:prstGeom prst="rect">
            <a:avLst/>
          </a:prstGeom>
          <a:solidFill>
            <a:srgbClr val="D31145"/>
          </a:solidFill>
        </p:spPr>
        <p:txBody>
          <a:bodyPr wrap="square" rtlCol="0">
            <a:spAutoFit/>
          </a:bodyPr>
          <a:lstStyle/>
          <a:p>
            <a:r>
              <a:rPr lang="cs-CZ" dirty="0">
                <a:solidFill>
                  <a:schemeClr val="bg1"/>
                </a:solidFill>
              </a:rPr>
              <a:t>V tomto scénáři existuje riziko  velmi vysoké zátěže nemocnic</a:t>
            </a:r>
            <a:endParaRPr lang="en-US" dirty="0">
              <a:solidFill>
                <a:schemeClr val="bg1"/>
              </a:solidFill>
            </a:endParaRPr>
          </a:p>
        </p:txBody>
      </p:sp>
    </p:spTree>
    <p:extLst>
      <p:ext uri="{BB962C8B-B14F-4D97-AF65-F5344CB8AC3E}">
        <p14:creationId xmlns:p14="http://schemas.microsoft.com/office/powerpoint/2010/main" val="22903273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207043" y="216637"/>
            <a:ext cx="11454063"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Vysoká nakažlivost nové varianty viru může být pro českou populaci velmi riziková, zejména v období počátku roku 2022.</a:t>
            </a:r>
          </a:p>
        </p:txBody>
      </p:sp>
      <p:pic>
        <p:nvPicPr>
          <p:cNvPr id="5" name="Obrázek 4">
            <a:extLst>
              <a:ext uri="{FF2B5EF4-FFF2-40B4-BE49-F238E27FC236}">
                <a16:creationId xmlns:a16="http://schemas.microsoft.com/office/drawing/2014/main" id="{3EAB96AE-C09A-4544-8167-12ADB469FD7E}"/>
              </a:ext>
            </a:extLst>
          </p:cNvPr>
          <p:cNvPicPr>
            <a:picLocks noChangeAspect="1"/>
          </p:cNvPicPr>
          <p:nvPr/>
        </p:nvPicPr>
        <p:blipFill>
          <a:blip r:embed="rId3"/>
          <a:stretch>
            <a:fillRect/>
          </a:stretch>
        </p:blipFill>
        <p:spPr>
          <a:xfrm>
            <a:off x="171450" y="1732056"/>
            <a:ext cx="11871960" cy="4909307"/>
          </a:xfrm>
          <a:prstGeom prst="rect">
            <a:avLst/>
          </a:prstGeom>
        </p:spPr>
      </p:pic>
      <p:sp>
        <p:nvSpPr>
          <p:cNvPr id="12" name="TextovéPole 11">
            <a:extLst>
              <a:ext uri="{FF2B5EF4-FFF2-40B4-BE49-F238E27FC236}">
                <a16:creationId xmlns:a16="http://schemas.microsoft.com/office/drawing/2014/main" id="{9D76E62B-17E4-44E7-A049-310F984A4AFD}"/>
              </a:ext>
            </a:extLst>
          </p:cNvPr>
          <p:cNvSpPr txBox="1"/>
          <p:nvPr/>
        </p:nvSpPr>
        <p:spPr>
          <a:xfrm>
            <a:off x="7299702" y="1306771"/>
            <a:ext cx="4562882" cy="1323439"/>
          </a:xfrm>
          <a:prstGeom prst="rect">
            <a:avLst/>
          </a:prstGeom>
          <a:solidFill>
            <a:srgbClr val="D31145"/>
          </a:solidFill>
        </p:spPr>
        <p:txBody>
          <a:bodyPr wrap="square" rtlCol="0">
            <a:spAutoFit/>
          </a:bodyPr>
          <a:lstStyle/>
          <a:p>
            <a:pPr algn="r"/>
            <a:r>
              <a:rPr lang="cs-CZ" sz="2000" dirty="0">
                <a:solidFill>
                  <a:schemeClr val="bg1"/>
                </a:solidFill>
              </a:rPr>
              <a:t>Ukázka vyhodnocení „stupně imunizace populace“: odhad počtu osob vysoce a potenciálně citlivých k variantě Omikron:</a:t>
            </a:r>
          </a:p>
          <a:p>
            <a:pPr algn="r"/>
            <a:r>
              <a:rPr lang="cs-CZ" sz="2000" b="1" dirty="0">
                <a:solidFill>
                  <a:schemeClr val="bg1"/>
                </a:solidFill>
              </a:rPr>
              <a:t>analýza pro celou populaci ve věku 5+</a:t>
            </a:r>
            <a:endParaRPr lang="en-US" sz="2000" b="1" dirty="0">
              <a:solidFill>
                <a:schemeClr val="bg1"/>
              </a:solidFill>
            </a:endParaRPr>
          </a:p>
        </p:txBody>
      </p:sp>
      <p:sp>
        <p:nvSpPr>
          <p:cNvPr id="6" name="Šipka: dolů 5">
            <a:extLst>
              <a:ext uri="{FF2B5EF4-FFF2-40B4-BE49-F238E27FC236}">
                <a16:creationId xmlns:a16="http://schemas.microsoft.com/office/drawing/2014/main" id="{D241E8F9-A66F-4A04-8A14-FA8134F9BDE3}"/>
              </a:ext>
            </a:extLst>
          </p:cNvPr>
          <p:cNvSpPr/>
          <p:nvPr/>
        </p:nvSpPr>
        <p:spPr>
          <a:xfrm>
            <a:off x="9872420" y="2836190"/>
            <a:ext cx="526943" cy="4184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Šipka: dolů 14">
            <a:extLst>
              <a:ext uri="{FF2B5EF4-FFF2-40B4-BE49-F238E27FC236}">
                <a16:creationId xmlns:a16="http://schemas.microsoft.com/office/drawing/2014/main" id="{F03520EB-03A4-4ADF-907D-F1041DC192C0}"/>
              </a:ext>
            </a:extLst>
          </p:cNvPr>
          <p:cNvSpPr/>
          <p:nvPr/>
        </p:nvSpPr>
        <p:spPr>
          <a:xfrm>
            <a:off x="11034115" y="2836190"/>
            <a:ext cx="526943" cy="4184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92138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207043" y="216637"/>
            <a:ext cx="11454063"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Vysoká nakažlivost nové varianty viru může být pro českou populaci velmi riziková, zejména v období počátku roku 2022.</a:t>
            </a:r>
          </a:p>
        </p:txBody>
      </p:sp>
      <p:pic>
        <p:nvPicPr>
          <p:cNvPr id="2" name="Obrázek 1">
            <a:extLst>
              <a:ext uri="{FF2B5EF4-FFF2-40B4-BE49-F238E27FC236}">
                <a16:creationId xmlns:a16="http://schemas.microsoft.com/office/drawing/2014/main" id="{014BEC87-17DD-4A1C-A5EB-F77F97704479}"/>
              </a:ext>
            </a:extLst>
          </p:cNvPr>
          <p:cNvPicPr>
            <a:picLocks noChangeAspect="1"/>
          </p:cNvPicPr>
          <p:nvPr/>
        </p:nvPicPr>
        <p:blipFill>
          <a:blip r:embed="rId3"/>
          <a:stretch>
            <a:fillRect/>
          </a:stretch>
        </p:blipFill>
        <p:spPr>
          <a:xfrm>
            <a:off x="34290" y="1768806"/>
            <a:ext cx="11984957" cy="4820991"/>
          </a:xfrm>
          <a:prstGeom prst="rect">
            <a:avLst/>
          </a:prstGeom>
        </p:spPr>
      </p:pic>
      <p:sp>
        <p:nvSpPr>
          <p:cNvPr id="5" name="TextovéPole 4">
            <a:extLst>
              <a:ext uri="{FF2B5EF4-FFF2-40B4-BE49-F238E27FC236}">
                <a16:creationId xmlns:a16="http://schemas.microsoft.com/office/drawing/2014/main" id="{DE25DB7F-1FA7-4ED8-B1DA-78B6B7172934}"/>
              </a:ext>
            </a:extLst>
          </p:cNvPr>
          <p:cNvSpPr txBox="1"/>
          <p:nvPr/>
        </p:nvSpPr>
        <p:spPr>
          <a:xfrm>
            <a:off x="7299702" y="1306771"/>
            <a:ext cx="4562882" cy="1323439"/>
          </a:xfrm>
          <a:prstGeom prst="rect">
            <a:avLst/>
          </a:prstGeom>
          <a:solidFill>
            <a:srgbClr val="D31145"/>
          </a:solidFill>
        </p:spPr>
        <p:txBody>
          <a:bodyPr wrap="square" rtlCol="0">
            <a:spAutoFit/>
          </a:bodyPr>
          <a:lstStyle/>
          <a:p>
            <a:pPr algn="r"/>
            <a:r>
              <a:rPr lang="cs-CZ" sz="2000" dirty="0">
                <a:solidFill>
                  <a:schemeClr val="bg1"/>
                </a:solidFill>
              </a:rPr>
              <a:t>Ukázka vyhodnocení „stupně imunizace populace“: odhad počtu osob vysoce a potenciálně citlivých k variantě Omikron:</a:t>
            </a:r>
          </a:p>
          <a:p>
            <a:pPr algn="r"/>
            <a:r>
              <a:rPr lang="cs-CZ" sz="2000" b="1" dirty="0">
                <a:solidFill>
                  <a:schemeClr val="bg1"/>
                </a:solidFill>
              </a:rPr>
              <a:t>analýza pro celou populaci ve věku 5+</a:t>
            </a:r>
            <a:endParaRPr lang="en-US" sz="2000" b="1" dirty="0">
              <a:solidFill>
                <a:schemeClr val="bg1"/>
              </a:solidFill>
            </a:endParaRPr>
          </a:p>
        </p:txBody>
      </p:sp>
      <p:sp>
        <p:nvSpPr>
          <p:cNvPr id="6" name="Šipka: dolů 5">
            <a:extLst>
              <a:ext uri="{FF2B5EF4-FFF2-40B4-BE49-F238E27FC236}">
                <a16:creationId xmlns:a16="http://schemas.microsoft.com/office/drawing/2014/main" id="{FD087FE6-95B9-4FE3-BAB9-2E0B0A77F5CD}"/>
              </a:ext>
            </a:extLst>
          </p:cNvPr>
          <p:cNvSpPr/>
          <p:nvPr/>
        </p:nvSpPr>
        <p:spPr>
          <a:xfrm>
            <a:off x="9872420" y="2836190"/>
            <a:ext cx="526943" cy="4184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Šipka: dolů 6">
            <a:extLst>
              <a:ext uri="{FF2B5EF4-FFF2-40B4-BE49-F238E27FC236}">
                <a16:creationId xmlns:a16="http://schemas.microsoft.com/office/drawing/2014/main" id="{D5CFFCEA-A95B-4A7D-B608-6FA73D54EA10}"/>
              </a:ext>
            </a:extLst>
          </p:cNvPr>
          <p:cNvSpPr/>
          <p:nvPr/>
        </p:nvSpPr>
        <p:spPr>
          <a:xfrm>
            <a:off x="11034115" y="2836190"/>
            <a:ext cx="526943" cy="4184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94635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ovéPole 13">
            <a:extLst>
              <a:ext uri="{FF2B5EF4-FFF2-40B4-BE49-F238E27FC236}">
                <a16:creationId xmlns:a16="http://schemas.microsoft.com/office/drawing/2014/main" id="{0F2B6EF9-D569-4BAE-B545-E34BCC4C2458}"/>
              </a:ext>
            </a:extLst>
          </p:cNvPr>
          <p:cNvSpPr txBox="1"/>
          <p:nvPr>
            <p:custDataLst>
              <p:tags r:id="rId1"/>
            </p:custDataLst>
          </p:nvPr>
        </p:nvSpPr>
        <p:spPr>
          <a:xfrm>
            <a:off x="33339" y="2663993"/>
            <a:ext cx="1212532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6000" b="1" i="0" u="none" strike="noStrike" kern="1200" cap="none" spc="0" normalizeH="0" baseline="0" noProof="0" dirty="0">
                <a:ln>
                  <a:noFill/>
                </a:ln>
                <a:solidFill>
                  <a:prstClr val="black"/>
                </a:solidFill>
                <a:effectLst/>
                <a:uLnTx/>
                <a:uFillTx/>
                <a:latin typeface="Calibri" panose="020F0502020204030204"/>
                <a:ea typeface="+mn-ea"/>
                <a:cs typeface="+mn-cs"/>
              </a:rPr>
              <a:t>DĚKUJI ZA POZORNOST </a:t>
            </a:r>
            <a:endParaRPr kumimoji="0" lang="cs-CZ" sz="6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876076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4">
            <a:extLst>
              <a:ext uri="{FF2B5EF4-FFF2-40B4-BE49-F238E27FC236}">
                <a16:creationId xmlns:a16="http://schemas.microsoft.com/office/drawing/2014/main" id="{DDCE47EF-31FF-4F5A-A8E9-CB9CFC669B69}"/>
              </a:ext>
            </a:extLst>
          </p:cNvPr>
          <p:cNvGraphicFramePr/>
          <p:nvPr>
            <p:custDataLst>
              <p:tags r:id="rId1"/>
            </p:custDataLst>
          </p:nvPr>
        </p:nvGraphicFramePr>
        <p:xfrm>
          <a:off x="671739" y="1459764"/>
          <a:ext cx="11010187" cy="5283936"/>
        </p:xfrm>
        <a:graphic>
          <a:graphicData uri="http://schemas.openxmlformats.org/drawingml/2006/chart">
            <c:chart xmlns:c="http://schemas.openxmlformats.org/drawingml/2006/chart" xmlns:r="http://schemas.openxmlformats.org/officeDocument/2006/relationships" r:id="rId7"/>
          </a:graphicData>
        </a:graphic>
      </p:graphicFrame>
      <p:sp>
        <p:nvSpPr>
          <p:cNvPr id="2" name="Nadpis 1">
            <a:extLst>
              <a:ext uri="{FF2B5EF4-FFF2-40B4-BE49-F238E27FC236}">
                <a16:creationId xmlns:a16="http://schemas.microsoft.com/office/drawing/2014/main" id="{7E673707-12E2-4D1E-AB03-FD25BE4817A5}"/>
              </a:ext>
            </a:extLst>
          </p:cNvPr>
          <p:cNvSpPr>
            <a:spLocks noGrp="1"/>
          </p:cNvSpPr>
          <p:nvPr>
            <p:ph type="title"/>
          </p:nvPr>
        </p:nvSpPr>
        <p:spPr>
          <a:xfrm>
            <a:off x="75501" y="2"/>
            <a:ext cx="8006053" cy="576000"/>
          </a:xfrm>
        </p:spPr>
        <p:txBody>
          <a:bodyPr/>
          <a:lstStyle/>
          <a:p>
            <a:r>
              <a:rPr lang="cs-CZ" dirty="0">
                <a:latin typeface="+mj-lt"/>
              </a:rPr>
              <a:t>Podíl pozitivních testů – vývoj do Vánoc: </a:t>
            </a:r>
            <a:r>
              <a:rPr lang="cs-CZ" dirty="0"/>
              <a:t>diagnostické indikace </a:t>
            </a:r>
            <a:endParaRPr lang="cs-CZ" dirty="0">
              <a:latin typeface="+mj-lt"/>
            </a:endParaRPr>
          </a:p>
        </p:txBody>
      </p:sp>
      <p:sp>
        <p:nvSpPr>
          <p:cNvPr id="12" name="TextovéPole 11">
            <a:extLst>
              <a:ext uri="{FF2B5EF4-FFF2-40B4-BE49-F238E27FC236}">
                <a16:creationId xmlns:a16="http://schemas.microsoft.com/office/drawing/2014/main" id="{CC555464-C1F2-4124-821F-660B522ED9C8}"/>
              </a:ext>
            </a:extLst>
          </p:cNvPr>
          <p:cNvSpPr txBox="1"/>
          <p:nvPr/>
        </p:nvSpPr>
        <p:spPr>
          <a:xfrm rot="16200000">
            <a:off x="-978817" y="3904624"/>
            <a:ext cx="27527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díl pozitivních testů v ČR</a:t>
            </a:r>
          </a:p>
        </p:txBody>
      </p:sp>
      <p:graphicFrame>
        <p:nvGraphicFramePr>
          <p:cNvPr id="10" name="Table 13">
            <a:extLst>
              <a:ext uri="{FF2B5EF4-FFF2-40B4-BE49-F238E27FC236}">
                <a16:creationId xmlns:a16="http://schemas.microsoft.com/office/drawing/2014/main" id="{C5CEEB84-F215-46CC-8B8D-4DB20680ADDB}"/>
              </a:ext>
            </a:extLst>
          </p:cNvPr>
          <p:cNvGraphicFramePr>
            <a:graphicFrameLocks noGrp="1"/>
          </p:cNvGraphicFramePr>
          <p:nvPr>
            <p:custDataLst>
              <p:tags r:id="rId2"/>
            </p:custDataLst>
          </p:nvPr>
        </p:nvGraphicFramePr>
        <p:xfrm>
          <a:off x="1646869" y="576002"/>
          <a:ext cx="3153360" cy="2077088"/>
        </p:xfrm>
        <a:graphic>
          <a:graphicData uri="http://schemas.openxmlformats.org/drawingml/2006/table">
            <a:tbl>
              <a:tblPr/>
              <a:tblGrid>
                <a:gridCol w="1683484">
                  <a:extLst>
                    <a:ext uri="{9D8B030D-6E8A-4147-A177-3AD203B41FA5}">
                      <a16:colId xmlns:a16="http://schemas.microsoft.com/office/drawing/2014/main" val="3546016253"/>
                    </a:ext>
                  </a:extLst>
                </a:gridCol>
                <a:gridCol w="1469876">
                  <a:extLst>
                    <a:ext uri="{9D8B030D-6E8A-4147-A177-3AD203B41FA5}">
                      <a16:colId xmlns:a16="http://schemas.microsoft.com/office/drawing/2014/main" val="1748583085"/>
                    </a:ext>
                  </a:extLst>
                </a:gridCol>
              </a:tblGrid>
              <a:tr h="262687">
                <a:tc>
                  <a:txBody>
                    <a:bodyPr/>
                    <a:lstStyle/>
                    <a:p>
                      <a:pPr algn="ctr" fontAlgn="ctr"/>
                      <a:r>
                        <a:rPr lang="cs-CZ" sz="1100" b="1" i="0" u="none" strike="noStrike" dirty="0">
                          <a:solidFill>
                            <a:srgbClr val="000000"/>
                          </a:solidFill>
                          <a:effectLst/>
                          <a:latin typeface="Calibri" panose="020F0502020204030204" pitchFamily="34" charset="0"/>
                        </a:rPr>
                        <a:t>Datum*</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tc>
                  <a:txBody>
                    <a:bodyPr/>
                    <a:lstStyle/>
                    <a:p>
                      <a:pPr algn="ctr" fontAlgn="ctr"/>
                      <a:r>
                        <a:rPr lang="cs-CZ" sz="1100" b="1" i="0" u="none" strike="noStrike">
                          <a:solidFill>
                            <a:srgbClr val="000000"/>
                          </a:solidFill>
                          <a:effectLst/>
                          <a:latin typeface="Calibri" panose="020F0502020204030204" pitchFamily="34" charset="0"/>
                        </a:rPr>
                        <a:t>Podíl pozitivních případů</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extLst>
                  <a:ext uri="{0D108BD9-81ED-4DB2-BD59-A6C34878D82A}">
                    <a16:rowId xmlns:a16="http://schemas.microsoft.com/office/drawing/2014/main" val="2637795841"/>
                  </a:ext>
                </a:extLst>
              </a:tr>
              <a:tr h="216826">
                <a:tc>
                  <a:txBody>
                    <a:bodyPr/>
                    <a:lstStyle/>
                    <a:p>
                      <a:pPr algn="ctr" fontAlgn="ctr"/>
                      <a:r>
                        <a:rPr lang="cs-CZ" sz="1100" b="0" i="0" u="none" strike="noStrike">
                          <a:solidFill>
                            <a:srgbClr val="000000"/>
                          </a:solidFill>
                          <a:effectLst/>
                          <a:latin typeface="Calibri" panose="020F0502020204030204" pitchFamily="34" charset="0"/>
                        </a:rPr>
                        <a:t>15.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7,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915809829"/>
                  </a:ext>
                </a:extLst>
              </a:tr>
              <a:tr h="208795">
                <a:tc>
                  <a:txBody>
                    <a:bodyPr/>
                    <a:lstStyle/>
                    <a:p>
                      <a:pPr algn="ctr" fontAlgn="ctr"/>
                      <a:r>
                        <a:rPr lang="cs-CZ" sz="1100" b="0" i="0" u="none" strike="noStrike">
                          <a:solidFill>
                            <a:srgbClr val="000000"/>
                          </a:solidFill>
                          <a:effectLst/>
                          <a:latin typeface="Calibri" panose="020F0502020204030204" pitchFamily="34" charset="0"/>
                        </a:rPr>
                        <a:t>16.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5,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373172434"/>
                  </a:ext>
                </a:extLst>
              </a:tr>
              <a:tr h="208795">
                <a:tc>
                  <a:txBody>
                    <a:bodyPr/>
                    <a:lstStyle/>
                    <a:p>
                      <a:pPr algn="ctr" fontAlgn="ctr"/>
                      <a:r>
                        <a:rPr lang="cs-CZ" sz="1100" b="0" i="0" u="none" strike="noStrike">
                          <a:solidFill>
                            <a:srgbClr val="000000"/>
                          </a:solidFill>
                          <a:effectLst/>
                          <a:latin typeface="Calibri" panose="020F0502020204030204" pitchFamily="34" charset="0"/>
                        </a:rPr>
                        <a:t>17.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5,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621266616"/>
                  </a:ext>
                </a:extLst>
              </a:tr>
              <a:tr h="208795">
                <a:tc>
                  <a:txBody>
                    <a:bodyPr/>
                    <a:lstStyle/>
                    <a:p>
                      <a:pPr algn="ctr" fontAlgn="ctr"/>
                      <a:r>
                        <a:rPr lang="cs-CZ" sz="1100" b="0" i="0" u="none" strike="noStrike">
                          <a:solidFill>
                            <a:srgbClr val="000000"/>
                          </a:solidFill>
                          <a:effectLst/>
                          <a:latin typeface="Calibri" panose="020F0502020204030204" pitchFamily="34" charset="0"/>
                        </a:rPr>
                        <a:t>18.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5,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219860033"/>
                  </a:ext>
                </a:extLst>
              </a:tr>
              <a:tr h="208795">
                <a:tc>
                  <a:txBody>
                    <a:bodyPr/>
                    <a:lstStyle/>
                    <a:p>
                      <a:pPr algn="ctr" fontAlgn="ctr"/>
                      <a:r>
                        <a:rPr lang="cs-CZ" sz="1100" b="0" i="0" u="none" strike="noStrike">
                          <a:solidFill>
                            <a:srgbClr val="000000"/>
                          </a:solidFill>
                          <a:effectLst/>
                          <a:latin typeface="Calibri" panose="020F0502020204030204" pitchFamily="34" charset="0"/>
                        </a:rPr>
                        <a:t>19.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6,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718693542"/>
                  </a:ext>
                </a:extLst>
              </a:tr>
              <a:tr h="208795">
                <a:tc>
                  <a:txBody>
                    <a:bodyPr/>
                    <a:lstStyle/>
                    <a:p>
                      <a:pPr algn="ctr" fontAlgn="ctr"/>
                      <a:r>
                        <a:rPr lang="cs-CZ" sz="1100" b="0" i="0" u="none" strike="noStrike">
                          <a:solidFill>
                            <a:srgbClr val="000000"/>
                          </a:solidFill>
                          <a:effectLst/>
                          <a:latin typeface="Calibri" panose="020F0502020204030204" pitchFamily="34" charset="0"/>
                        </a:rPr>
                        <a:t>20.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549193932"/>
                  </a:ext>
                </a:extLst>
              </a:tr>
              <a:tr h="208795">
                <a:tc>
                  <a:txBody>
                    <a:bodyPr/>
                    <a:lstStyle/>
                    <a:p>
                      <a:pPr algn="ctr" fontAlgn="ctr"/>
                      <a:r>
                        <a:rPr lang="cs-CZ" sz="1100" b="0" i="0" u="none" strike="noStrike">
                          <a:solidFill>
                            <a:srgbClr val="000000"/>
                          </a:solidFill>
                          <a:effectLst/>
                          <a:latin typeface="Calibri" panose="020F0502020204030204" pitchFamily="34" charset="0"/>
                        </a:rPr>
                        <a:t>21.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30,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extLst>
                  <a:ext uri="{0D108BD9-81ED-4DB2-BD59-A6C34878D82A}">
                    <a16:rowId xmlns:a16="http://schemas.microsoft.com/office/drawing/2014/main" val="4061735245"/>
                  </a:ext>
                </a:extLst>
              </a:tr>
              <a:tr h="264289">
                <a:tc>
                  <a:txBody>
                    <a:bodyPr/>
                    <a:lstStyle/>
                    <a:p>
                      <a:pPr algn="ctr" fontAlgn="ctr"/>
                      <a:r>
                        <a:rPr lang="cs-CZ" sz="1100" b="1" i="0" u="none" strike="noStrike">
                          <a:solidFill>
                            <a:srgbClr val="FFFFFF"/>
                          </a:solidFill>
                          <a:effectLst/>
                          <a:latin typeface="Calibri" panose="020F0502020204030204" pitchFamily="34" charset="0"/>
                        </a:rPr>
                        <a:t>Průměrný podíl za posledních 7 dní</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fontAlgn="ctr"/>
                      <a:r>
                        <a:rPr lang="cs-CZ" sz="1100" b="0" i="0" u="none" strike="noStrike" dirty="0">
                          <a:solidFill>
                            <a:srgbClr val="FFFFFF"/>
                          </a:solidFill>
                          <a:effectLst/>
                          <a:latin typeface="Calibri" panose="020F0502020204030204" pitchFamily="34" charset="0"/>
                        </a:rPr>
                        <a:t>24,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2293649966"/>
                  </a:ext>
                </a:extLst>
              </a:tr>
            </a:tbl>
          </a:graphicData>
        </a:graphic>
      </p:graphicFrame>
      <p:sp>
        <p:nvSpPr>
          <p:cNvPr id="20" name="Obdélník 19">
            <a:extLst>
              <a:ext uri="{FF2B5EF4-FFF2-40B4-BE49-F238E27FC236}">
                <a16:creationId xmlns:a16="http://schemas.microsoft.com/office/drawing/2014/main" id="{206DCB10-AA7E-4865-BDF4-B9CFC41471DE}"/>
              </a:ext>
            </a:extLst>
          </p:cNvPr>
          <p:cNvSpPr/>
          <p:nvPr>
            <p:custDataLst>
              <p:tags r:id="rId3"/>
            </p:custDataLst>
          </p:nvPr>
        </p:nvSpPr>
        <p:spPr>
          <a:xfrm>
            <a:off x="1348695" y="2645033"/>
            <a:ext cx="35464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v po aktualizaci dat za předchozí den.</a:t>
            </a:r>
          </a:p>
        </p:txBody>
      </p:sp>
      <p:sp>
        <p:nvSpPr>
          <p:cNvPr id="8" name="TextovéPole 7">
            <a:extLst>
              <a:ext uri="{FF2B5EF4-FFF2-40B4-BE49-F238E27FC236}">
                <a16:creationId xmlns:a16="http://schemas.microsoft.com/office/drawing/2014/main" id="{5E3C533E-8CAD-49FC-8784-1D0A545A237A}"/>
              </a:ext>
            </a:extLst>
          </p:cNvPr>
          <p:cNvSpPr txBox="1"/>
          <p:nvPr>
            <p:custDataLst>
              <p:tags r:id="rId4"/>
            </p:custDataLst>
          </p:nvPr>
        </p:nvSpPr>
        <p:spPr>
          <a:xfrm>
            <a:off x="5529925" y="800159"/>
            <a:ext cx="6272306"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Arial" panose="020B0604020202020204"/>
                <a:ea typeface="+mn-ea"/>
                <a:cs typeface="+mn-cs"/>
              </a:rPr>
              <a:t>V posledních týdnech se relativní pozitivita diagnostických testů stále pohybuje nad hranicí 20 %, v nejvíce zatížených regionech překračuje hodnota 30 %. </a:t>
            </a:r>
            <a:r>
              <a:rPr kumimoji="0" lang="cs-CZ" sz="2200" b="1" i="0" u="none" strike="noStrike" kern="1200" cap="none" spc="0" normalizeH="0" baseline="0" noProof="0" dirty="0">
                <a:ln>
                  <a:noFill/>
                </a:ln>
                <a:solidFill>
                  <a:srgbClr val="0000FF"/>
                </a:solidFill>
                <a:effectLst/>
                <a:uLnTx/>
                <a:uFillTx/>
                <a:latin typeface="Arial" panose="020B0604020202020204"/>
                <a:ea typeface="+mn-ea"/>
                <a:cs typeface="+mn-cs"/>
              </a:rPr>
              <a:t>Pozitivní zprávou je, že prudký růst se zastavil a hodnoty klesají v čase. </a:t>
            </a:r>
          </a:p>
        </p:txBody>
      </p:sp>
    </p:spTree>
    <p:extLst>
      <p:ext uri="{BB962C8B-B14F-4D97-AF65-F5344CB8AC3E}">
        <p14:creationId xmlns:p14="http://schemas.microsoft.com/office/powerpoint/2010/main" val="3519497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E673707-12E2-4D1E-AB03-FD25BE4817A5}"/>
              </a:ext>
            </a:extLst>
          </p:cNvPr>
          <p:cNvSpPr>
            <a:spLocks noGrp="1"/>
          </p:cNvSpPr>
          <p:nvPr>
            <p:ph type="title"/>
          </p:nvPr>
        </p:nvSpPr>
        <p:spPr>
          <a:xfrm>
            <a:off x="-41235" y="2"/>
            <a:ext cx="8445929" cy="576000"/>
          </a:xfrm>
        </p:spPr>
        <p:txBody>
          <a:bodyPr/>
          <a:lstStyle/>
          <a:p>
            <a:r>
              <a:rPr lang="cs-CZ" dirty="0">
                <a:latin typeface="+mj-lt"/>
              </a:rPr>
              <a:t>Podíl pozitivních testů – vývoj do Vánoc: </a:t>
            </a:r>
            <a:r>
              <a:rPr lang="cs-CZ" dirty="0"/>
              <a:t>epidemiologické indikace</a:t>
            </a:r>
            <a:endParaRPr lang="cs-CZ" dirty="0">
              <a:latin typeface="+mj-lt"/>
            </a:endParaRPr>
          </a:p>
        </p:txBody>
      </p:sp>
      <p:sp>
        <p:nvSpPr>
          <p:cNvPr id="12" name="TextovéPole 11">
            <a:extLst>
              <a:ext uri="{FF2B5EF4-FFF2-40B4-BE49-F238E27FC236}">
                <a16:creationId xmlns:a16="http://schemas.microsoft.com/office/drawing/2014/main" id="{CC555464-C1F2-4124-821F-660B522ED9C8}"/>
              </a:ext>
            </a:extLst>
          </p:cNvPr>
          <p:cNvSpPr txBox="1"/>
          <p:nvPr>
            <p:custDataLst>
              <p:tags r:id="rId1"/>
            </p:custDataLst>
          </p:nvPr>
        </p:nvSpPr>
        <p:spPr>
          <a:xfrm rot="16200000">
            <a:off x="-978817" y="3904624"/>
            <a:ext cx="27527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díl pozitivních testů v ČR</a:t>
            </a:r>
          </a:p>
        </p:txBody>
      </p:sp>
      <p:graphicFrame>
        <p:nvGraphicFramePr>
          <p:cNvPr id="13" name="Chart 4">
            <a:extLst>
              <a:ext uri="{FF2B5EF4-FFF2-40B4-BE49-F238E27FC236}">
                <a16:creationId xmlns:a16="http://schemas.microsoft.com/office/drawing/2014/main" id="{DDCE47EF-31FF-4F5A-A8E9-CB9CFC669B69}"/>
              </a:ext>
            </a:extLst>
          </p:cNvPr>
          <p:cNvGraphicFramePr/>
          <p:nvPr>
            <p:custDataLst>
              <p:tags r:id="rId2"/>
            </p:custDataLst>
          </p:nvPr>
        </p:nvGraphicFramePr>
        <p:xfrm>
          <a:off x="671739" y="1459764"/>
          <a:ext cx="11010187" cy="528393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Table 13">
            <a:extLst>
              <a:ext uri="{FF2B5EF4-FFF2-40B4-BE49-F238E27FC236}">
                <a16:creationId xmlns:a16="http://schemas.microsoft.com/office/drawing/2014/main" id="{A11C1904-4002-4181-A5AD-2C063C768D34}"/>
              </a:ext>
            </a:extLst>
          </p:cNvPr>
          <p:cNvGraphicFramePr>
            <a:graphicFrameLocks noGrp="1"/>
          </p:cNvGraphicFramePr>
          <p:nvPr>
            <p:custDataLst>
              <p:tags r:id="rId3"/>
            </p:custDataLst>
          </p:nvPr>
        </p:nvGraphicFramePr>
        <p:xfrm>
          <a:off x="1497774" y="584107"/>
          <a:ext cx="3153360" cy="2077088"/>
        </p:xfrm>
        <a:graphic>
          <a:graphicData uri="http://schemas.openxmlformats.org/drawingml/2006/table">
            <a:tbl>
              <a:tblPr/>
              <a:tblGrid>
                <a:gridCol w="1683484">
                  <a:extLst>
                    <a:ext uri="{9D8B030D-6E8A-4147-A177-3AD203B41FA5}">
                      <a16:colId xmlns:a16="http://schemas.microsoft.com/office/drawing/2014/main" val="3546016253"/>
                    </a:ext>
                  </a:extLst>
                </a:gridCol>
                <a:gridCol w="1469876">
                  <a:extLst>
                    <a:ext uri="{9D8B030D-6E8A-4147-A177-3AD203B41FA5}">
                      <a16:colId xmlns:a16="http://schemas.microsoft.com/office/drawing/2014/main" val="1748583085"/>
                    </a:ext>
                  </a:extLst>
                </a:gridCol>
              </a:tblGrid>
              <a:tr h="262687">
                <a:tc>
                  <a:txBody>
                    <a:bodyPr/>
                    <a:lstStyle/>
                    <a:p>
                      <a:pPr algn="ctr" fontAlgn="ctr"/>
                      <a:r>
                        <a:rPr lang="cs-CZ" sz="1100" b="1" i="0" u="none" strike="noStrike" dirty="0">
                          <a:solidFill>
                            <a:srgbClr val="000000"/>
                          </a:solidFill>
                          <a:effectLst/>
                          <a:latin typeface="Calibri" panose="020F0502020204030204" pitchFamily="34" charset="0"/>
                        </a:rPr>
                        <a:t>Datum*</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tc>
                  <a:txBody>
                    <a:bodyPr/>
                    <a:lstStyle/>
                    <a:p>
                      <a:pPr algn="ctr" fontAlgn="ctr"/>
                      <a:r>
                        <a:rPr lang="cs-CZ" sz="1100" b="1" i="0" u="none" strike="noStrike">
                          <a:solidFill>
                            <a:srgbClr val="000000"/>
                          </a:solidFill>
                          <a:effectLst/>
                          <a:latin typeface="Calibri" panose="020F0502020204030204" pitchFamily="34" charset="0"/>
                        </a:rPr>
                        <a:t>Podíl pozitivních případů</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extLst>
                  <a:ext uri="{0D108BD9-81ED-4DB2-BD59-A6C34878D82A}">
                    <a16:rowId xmlns:a16="http://schemas.microsoft.com/office/drawing/2014/main" val="2637795841"/>
                  </a:ext>
                </a:extLst>
              </a:tr>
              <a:tr h="216826">
                <a:tc>
                  <a:txBody>
                    <a:bodyPr/>
                    <a:lstStyle/>
                    <a:p>
                      <a:pPr algn="ctr" fontAlgn="ctr"/>
                      <a:r>
                        <a:rPr lang="cs-CZ" sz="1100" b="0" i="0" u="none" strike="noStrike">
                          <a:solidFill>
                            <a:srgbClr val="000000"/>
                          </a:solidFill>
                          <a:effectLst/>
                          <a:latin typeface="Calibri" panose="020F0502020204030204" pitchFamily="34" charset="0"/>
                        </a:rPr>
                        <a:t>15.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2,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915809829"/>
                  </a:ext>
                </a:extLst>
              </a:tr>
              <a:tr h="208795">
                <a:tc>
                  <a:txBody>
                    <a:bodyPr/>
                    <a:lstStyle/>
                    <a:p>
                      <a:pPr algn="ctr" fontAlgn="ctr"/>
                      <a:r>
                        <a:rPr lang="cs-CZ" sz="1100" b="0" i="0" u="none" strike="noStrike">
                          <a:solidFill>
                            <a:srgbClr val="000000"/>
                          </a:solidFill>
                          <a:effectLst/>
                          <a:latin typeface="Calibri" panose="020F0502020204030204" pitchFamily="34" charset="0"/>
                        </a:rPr>
                        <a:t>16.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0,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373172434"/>
                  </a:ext>
                </a:extLst>
              </a:tr>
              <a:tr h="208795">
                <a:tc>
                  <a:txBody>
                    <a:bodyPr/>
                    <a:lstStyle/>
                    <a:p>
                      <a:pPr algn="ctr" fontAlgn="ctr"/>
                      <a:r>
                        <a:rPr lang="cs-CZ" sz="1100" b="0" i="0" u="none" strike="noStrike">
                          <a:solidFill>
                            <a:srgbClr val="000000"/>
                          </a:solidFill>
                          <a:effectLst/>
                          <a:latin typeface="Calibri" panose="020F0502020204030204" pitchFamily="34" charset="0"/>
                        </a:rPr>
                        <a:t>17.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9,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621266616"/>
                  </a:ext>
                </a:extLst>
              </a:tr>
              <a:tr h="208795">
                <a:tc>
                  <a:txBody>
                    <a:bodyPr/>
                    <a:lstStyle/>
                    <a:p>
                      <a:pPr algn="ctr" fontAlgn="ctr"/>
                      <a:r>
                        <a:rPr lang="cs-CZ" sz="1100" b="0" i="0" u="none" strike="noStrike">
                          <a:solidFill>
                            <a:srgbClr val="000000"/>
                          </a:solidFill>
                          <a:effectLst/>
                          <a:latin typeface="Calibri" panose="020F0502020204030204" pitchFamily="34" charset="0"/>
                        </a:rPr>
                        <a:t>18.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1,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219860033"/>
                  </a:ext>
                </a:extLst>
              </a:tr>
              <a:tr h="208795">
                <a:tc>
                  <a:txBody>
                    <a:bodyPr/>
                    <a:lstStyle/>
                    <a:p>
                      <a:pPr algn="ctr" fontAlgn="ctr"/>
                      <a:r>
                        <a:rPr lang="cs-CZ" sz="1100" b="0" i="0" u="none" strike="noStrike">
                          <a:solidFill>
                            <a:srgbClr val="000000"/>
                          </a:solidFill>
                          <a:effectLst/>
                          <a:latin typeface="Calibri" panose="020F0502020204030204" pitchFamily="34" charset="0"/>
                        </a:rPr>
                        <a:t>19.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2,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718693542"/>
                  </a:ext>
                </a:extLst>
              </a:tr>
              <a:tr h="208795">
                <a:tc>
                  <a:txBody>
                    <a:bodyPr/>
                    <a:lstStyle/>
                    <a:p>
                      <a:pPr algn="ctr" fontAlgn="ctr"/>
                      <a:r>
                        <a:rPr lang="cs-CZ" sz="1100" b="0" i="0" u="none" strike="noStrike">
                          <a:solidFill>
                            <a:srgbClr val="000000"/>
                          </a:solidFill>
                          <a:effectLst/>
                          <a:latin typeface="Calibri" panose="020F0502020204030204" pitchFamily="34" charset="0"/>
                        </a:rPr>
                        <a:t>20.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0,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549193932"/>
                  </a:ext>
                </a:extLst>
              </a:tr>
              <a:tr h="208795">
                <a:tc>
                  <a:txBody>
                    <a:bodyPr/>
                    <a:lstStyle/>
                    <a:p>
                      <a:pPr algn="ctr" fontAlgn="ctr"/>
                      <a:r>
                        <a:rPr lang="cs-CZ" sz="1100" b="0" i="0" u="none" strike="noStrike">
                          <a:solidFill>
                            <a:srgbClr val="000000"/>
                          </a:solidFill>
                          <a:effectLst/>
                          <a:latin typeface="Calibri" panose="020F0502020204030204" pitchFamily="34" charset="0"/>
                        </a:rPr>
                        <a:t>21.12.20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4,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extLst>
                  <a:ext uri="{0D108BD9-81ED-4DB2-BD59-A6C34878D82A}">
                    <a16:rowId xmlns:a16="http://schemas.microsoft.com/office/drawing/2014/main" val="4061735245"/>
                  </a:ext>
                </a:extLst>
              </a:tr>
              <a:tr h="264289">
                <a:tc>
                  <a:txBody>
                    <a:bodyPr/>
                    <a:lstStyle/>
                    <a:p>
                      <a:pPr algn="ctr" fontAlgn="ctr"/>
                      <a:r>
                        <a:rPr lang="cs-CZ" sz="1100" b="1" i="0" u="none" strike="noStrike">
                          <a:solidFill>
                            <a:srgbClr val="FFFFFF"/>
                          </a:solidFill>
                          <a:effectLst/>
                          <a:latin typeface="Calibri" panose="020F0502020204030204" pitchFamily="34" charset="0"/>
                        </a:rPr>
                        <a:t>Průměrný podíl za posledních 7 dní</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fontAlgn="ctr"/>
                      <a:r>
                        <a:rPr lang="cs-CZ" sz="1100" b="0" i="0" u="none" strike="noStrike" dirty="0">
                          <a:solidFill>
                            <a:srgbClr val="FFFFFF"/>
                          </a:solidFill>
                          <a:effectLst/>
                          <a:latin typeface="Calibri" panose="020F0502020204030204" pitchFamily="34" charset="0"/>
                        </a:rPr>
                        <a:t>11,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2293649966"/>
                  </a:ext>
                </a:extLst>
              </a:tr>
            </a:tbl>
          </a:graphicData>
        </a:graphic>
      </p:graphicFrame>
      <p:sp>
        <p:nvSpPr>
          <p:cNvPr id="20" name="Obdélník 19">
            <a:extLst>
              <a:ext uri="{FF2B5EF4-FFF2-40B4-BE49-F238E27FC236}">
                <a16:creationId xmlns:a16="http://schemas.microsoft.com/office/drawing/2014/main" id="{206DCB10-AA7E-4865-BDF4-B9CFC41471DE}"/>
              </a:ext>
            </a:extLst>
          </p:cNvPr>
          <p:cNvSpPr/>
          <p:nvPr>
            <p:custDataLst>
              <p:tags r:id="rId4"/>
            </p:custDataLst>
          </p:nvPr>
        </p:nvSpPr>
        <p:spPr>
          <a:xfrm>
            <a:off x="1454232" y="2667636"/>
            <a:ext cx="35464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v po aktualizaci dat za předchozí den.</a:t>
            </a:r>
          </a:p>
        </p:txBody>
      </p:sp>
      <p:sp>
        <p:nvSpPr>
          <p:cNvPr id="8" name="TextovéPole 7">
            <a:extLst>
              <a:ext uri="{FF2B5EF4-FFF2-40B4-BE49-F238E27FC236}">
                <a16:creationId xmlns:a16="http://schemas.microsoft.com/office/drawing/2014/main" id="{22E90075-8FD9-4D30-B55E-17CFAA3FA3D3}"/>
              </a:ext>
            </a:extLst>
          </p:cNvPr>
          <p:cNvSpPr txBox="1"/>
          <p:nvPr>
            <p:custDataLst>
              <p:tags r:id="rId5"/>
            </p:custDataLst>
          </p:nvPr>
        </p:nvSpPr>
        <p:spPr>
          <a:xfrm>
            <a:off x="6287966" y="1707330"/>
            <a:ext cx="5232295"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Arial" panose="020B0604020202020204"/>
                <a:ea typeface="+mn-ea"/>
                <a:cs typeface="+mn-cs"/>
              </a:rPr>
              <a:t>Relativní pozitivita epidemiologicky indikovaných testů kolísá na hranici  12 %. </a:t>
            </a:r>
          </a:p>
        </p:txBody>
      </p:sp>
    </p:spTree>
    <p:extLst>
      <p:ext uri="{BB962C8B-B14F-4D97-AF65-F5344CB8AC3E}">
        <p14:creationId xmlns:p14="http://schemas.microsoft.com/office/powerpoint/2010/main" val="15146146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2"/>
            </p:custDataLst>
          </p:nvPr>
        </p:nvSpPr>
        <p:spPr>
          <a:xfrm>
            <a:off x="0" y="3693109"/>
            <a:ext cx="12192000" cy="2317166"/>
          </a:xfrm>
        </p:spPr>
        <p:txBody>
          <a:bodyPr>
            <a:normAutofit/>
          </a:bodyPr>
          <a:lstStyle/>
          <a:p>
            <a:r>
              <a:rPr lang="cs-CZ" sz="4800" b="1" dirty="0">
                <a:solidFill>
                  <a:srgbClr val="0000FF"/>
                </a:solidFill>
              </a:rPr>
              <a:t>Pozitivní zpráva</a:t>
            </a:r>
            <a:r>
              <a:rPr lang="cs-CZ" sz="4600" b="1" i="1" dirty="0">
                <a:solidFill>
                  <a:srgbClr val="0000FF"/>
                </a:solidFill>
              </a:rPr>
              <a:t>: </a:t>
            </a:r>
            <a:r>
              <a:rPr lang="cs-CZ" sz="4600" b="1" dirty="0"/>
              <a:t>všechny „předvánoční“ trendy vývoje konzistentně ukazovaly pokles zátěže</a:t>
            </a:r>
          </a:p>
          <a:p>
            <a:r>
              <a:rPr lang="cs-CZ" sz="4600" b="1" dirty="0"/>
              <a:t>…. a vývoj po 27.12. to nadále potvrzuje</a:t>
            </a:r>
            <a:endParaRPr lang="cs-CZ" sz="4800" b="1" dirty="0"/>
          </a:p>
        </p:txBody>
      </p:sp>
    </p:spTree>
    <p:extLst>
      <p:ext uri="{BB962C8B-B14F-4D97-AF65-F5344CB8AC3E}">
        <p14:creationId xmlns:p14="http://schemas.microsoft.com/office/powerpoint/2010/main" val="2274045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Počty COVID-19 pozitivních v ČR na 100 000 v populaci</a:t>
            </a: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1"/>
            </p:custDataLst>
          </p:nvPr>
        </p:nvGraphicFramePr>
        <p:xfrm>
          <a:off x="1311607" y="1525110"/>
          <a:ext cx="10661843" cy="5365347"/>
        </p:xfrm>
        <a:graphic>
          <a:graphicData uri="http://schemas.openxmlformats.org/drawingml/2006/chart">
            <c:chart xmlns:c="http://schemas.openxmlformats.org/drawingml/2006/chart" xmlns:r="http://schemas.openxmlformats.org/officeDocument/2006/relationships" r:id="rId6"/>
          </a:graphicData>
        </a:graphic>
      </p:graphicFrame>
      <p:sp>
        <p:nvSpPr>
          <p:cNvPr id="12" name="Obdélník 11">
            <a:extLst>
              <a:ext uri="{FF2B5EF4-FFF2-40B4-BE49-F238E27FC236}">
                <a16:creationId xmlns:a16="http://schemas.microsoft.com/office/drawing/2014/main" id="{47330F7D-030D-49C8-BE37-CEFFFE48B489}"/>
              </a:ext>
            </a:extLst>
          </p:cNvPr>
          <p:cNvSpPr/>
          <p:nvPr>
            <p:custDataLst>
              <p:tags r:id="rId2"/>
            </p:custDataLst>
          </p:nvPr>
        </p:nvSpPr>
        <p:spPr>
          <a:xfrm>
            <a:off x="137649" y="1757297"/>
            <a:ext cx="1254858" cy="280076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COVID-19 pozitivních na 100 000 osob v dané věkové skupině v populaci (suma za celý časový úsek)</a:t>
            </a:r>
          </a:p>
        </p:txBody>
      </p:sp>
      <p:sp>
        <p:nvSpPr>
          <p:cNvPr id="13" name="TextovéPole 12">
            <a:extLst>
              <a:ext uri="{FF2B5EF4-FFF2-40B4-BE49-F238E27FC236}">
                <a16:creationId xmlns:a16="http://schemas.microsoft.com/office/drawing/2014/main" id="{018CB2AB-0F5A-4FCE-8034-F8F60A89895F}"/>
              </a:ext>
            </a:extLst>
          </p:cNvPr>
          <p:cNvSpPr txBox="1"/>
          <p:nvPr>
            <p:custDataLst>
              <p:tags r:id="rId3"/>
            </p:custDataLst>
          </p:nvPr>
        </p:nvSpPr>
        <p:spPr>
          <a:xfrm>
            <a:off x="502442" y="615988"/>
            <a:ext cx="1134427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Populační zátěž konzistentně klesá ve všech kategoriích dospělých </a:t>
            </a:r>
            <a:endParaRPr kumimoji="0" lang="cs-CZ" sz="2200" b="1" i="0" u="sng"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endParaRPr>
          </a:p>
        </p:txBody>
      </p:sp>
      <p:sp>
        <p:nvSpPr>
          <p:cNvPr id="6" name="Podnadpis 2">
            <a:extLst>
              <a:ext uri="{FF2B5EF4-FFF2-40B4-BE49-F238E27FC236}">
                <a16:creationId xmlns:a16="http://schemas.microsoft.com/office/drawing/2014/main" id="{3DC956FD-6669-4C82-B852-E3CE5A476C50}"/>
              </a:ext>
            </a:extLst>
          </p:cNvPr>
          <p:cNvSpPr txBox="1">
            <a:spLocks/>
          </p:cNvSpPr>
          <p:nvPr>
            <p:custDataLst>
              <p:tags r:id="rId4"/>
            </p:custDataLst>
          </p:nvPr>
        </p:nvSpPr>
        <p:spPr>
          <a:xfrm>
            <a:off x="2586603" y="1857110"/>
            <a:ext cx="5446443" cy="11985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ošlo k poklesu počtu nově zachycených nákaz </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zejména u dospělých ve věku 20-49 let. Zastavil se také nárůst počtu nákaz v seniorní věkové kategorii 75+.</a:t>
            </a:r>
          </a:p>
        </p:txBody>
      </p:sp>
    </p:spTree>
    <p:extLst>
      <p:ext uri="{BB962C8B-B14F-4D97-AF65-F5344CB8AC3E}">
        <p14:creationId xmlns:p14="http://schemas.microsoft.com/office/powerpoint/2010/main" val="1611349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7651307" cy="576000"/>
          </a:xfrm>
        </p:spPr>
        <p:txBody>
          <a:bodyPr/>
          <a:lstStyle/>
          <a:p>
            <a:r>
              <a:rPr lang="cs-CZ" dirty="0"/>
              <a:t>Počty COVID-19 pozitivních v ČR na 100 000 v populaci</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2162175" y="6545102"/>
            <a:ext cx="707707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ISIN – Informační systém infekční nemocí</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2"/>
            </p:custDataLst>
          </p:nvPr>
        </p:nvGraphicFramePr>
        <p:xfrm>
          <a:off x="1392508" y="1399769"/>
          <a:ext cx="10661843" cy="5365347"/>
        </p:xfrm>
        <a:graphic>
          <a:graphicData uri="http://schemas.openxmlformats.org/drawingml/2006/chart">
            <c:chart xmlns:c="http://schemas.openxmlformats.org/drawingml/2006/chart" xmlns:r="http://schemas.openxmlformats.org/officeDocument/2006/relationships" r:id="rId5"/>
          </a:graphicData>
        </a:graphic>
      </p:graphicFrame>
      <p:sp>
        <p:nvSpPr>
          <p:cNvPr id="12" name="Obdélník 11">
            <a:extLst>
              <a:ext uri="{FF2B5EF4-FFF2-40B4-BE49-F238E27FC236}">
                <a16:creationId xmlns:a16="http://schemas.microsoft.com/office/drawing/2014/main" id="{47330F7D-030D-49C8-BE37-CEFFFE48B489}"/>
              </a:ext>
            </a:extLst>
          </p:cNvPr>
          <p:cNvSpPr/>
          <p:nvPr/>
        </p:nvSpPr>
        <p:spPr>
          <a:xfrm>
            <a:off x="137649" y="2386547"/>
            <a:ext cx="1254858" cy="280076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COVID-19 pozitivních na 100 000 osob v dané věkové skupině v populaci (suma za celý časový úsek)</a:t>
            </a:r>
          </a:p>
        </p:txBody>
      </p:sp>
      <p:sp>
        <p:nvSpPr>
          <p:cNvPr id="15" name="TextovéPole 14">
            <a:extLst>
              <a:ext uri="{FF2B5EF4-FFF2-40B4-BE49-F238E27FC236}">
                <a16:creationId xmlns:a16="http://schemas.microsoft.com/office/drawing/2014/main" id="{018CB2AB-0F5A-4FCE-8034-F8F60A89895F}"/>
              </a:ext>
            </a:extLst>
          </p:cNvPr>
          <p:cNvSpPr txBox="1"/>
          <p:nvPr>
            <p:custDataLst>
              <p:tags r:id="rId3"/>
            </p:custDataLst>
          </p:nvPr>
        </p:nvSpPr>
        <p:spPr>
          <a:xfrm>
            <a:off x="381739" y="642722"/>
            <a:ext cx="1134427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Populační zátěž klesá u dětí ve všech věkových kategoriích nad 5 let. </a:t>
            </a:r>
          </a:p>
        </p:txBody>
      </p:sp>
    </p:spTree>
    <p:extLst>
      <p:ext uri="{BB962C8B-B14F-4D97-AF65-F5344CB8AC3E}">
        <p14:creationId xmlns:p14="http://schemas.microsoft.com/office/powerpoint/2010/main" val="1102116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0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0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05.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0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10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False"/>
  <p:tag name="SLIDEFAB_EXPORTMODE" val="4"/>
</p:tagLst>
</file>

<file path=ppt/tags/tag1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3.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7.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9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1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5.xml><?xml version="1.0" encoding="utf-8"?>
<a:theme xmlns:a="http://schemas.openxmlformats.org/drawingml/2006/main" name="2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6.xml><?xml version="1.0" encoding="utf-8"?>
<a:theme xmlns:a="http://schemas.openxmlformats.org/drawingml/2006/main" name="5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7.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2110</TotalTime>
  <Words>5047</Words>
  <Application>Microsoft Office PowerPoint</Application>
  <PresentationFormat>Širokoúhlá obrazovka</PresentationFormat>
  <Paragraphs>786</Paragraphs>
  <Slides>45</Slides>
  <Notes>12</Notes>
  <HiddenSlides>0</HiddenSlides>
  <MMClips>0</MMClips>
  <ScaleCrop>false</ScaleCrop>
  <HeadingPairs>
    <vt:vector size="6" baseType="variant">
      <vt:variant>
        <vt:lpstr>Použitá písma</vt:lpstr>
      </vt:variant>
      <vt:variant>
        <vt:i4>7</vt:i4>
      </vt:variant>
      <vt:variant>
        <vt:lpstr>Motiv</vt:lpstr>
      </vt:variant>
      <vt:variant>
        <vt:i4>6</vt:i4>
      </vt:variant>
      <vt:variant>
        <vt:lpstr>Nadpisy snímků</vt:lpstr>
      </vt:variant>
      <vt:variant>
        <vt:i4>45</vt:i4>
      </vt:variant>
    </vt:vector>
  </HeadingPairs>
  <TitlesOfParts>
    <vt:vector size="58" baseType="lpstr">
      <vt:lpstr>Arial Black</vt:lpstr>
      <vt:lpstr>Arial</vt:lpstr>
      <vt:lpstr>Times New Roman</vt:lpstr>
      <vt:lpstr>Arial (Základní text)</vt:lpstr>
      <vt:lpstr>Calibri</vt:lpstr>
      <vt:lpstr>Calibri Light</vt:lpstr>
      <vt:lpstr>Wingdings</vt:lpstr>
      <vt:lpstr>1_Motiv Office</vt:lpstr>
      <vt:lpstr>3_Motiv Office</vt:lpstr>
      <vt:lpstr>Motiv Office</vt:lpstr>
      <vt:lpstr>4_Motiv Office</vt:lpstr>
      <vt:lpstr>2_Motiv Office</vt:lpstr>
      <vt:lpstr>5_Motiv Office</vt:lpstr>
      <vt:lpstr>Datová a informační základna  pro management pandemie COVID-19</vt:lpstr>
      <vt:lpstr>Prezentace aplikace PowerPoint</vt:lpstr>
      <vt:lpstr>Zátěž regionů ve vzájemném srovnání krajů k 29. 12.</vt:lpstr>
      <vt:lpstr>Objem testů během Vánoc významně poklesl, po 27.12. se ale vrátil k vysokým hodnotám </vt:lpstr>
      <vt:lpstr>Podíl pozitivních testů – vývoj do Vánoc: diagnostické indikace </vt:lpstr>
      <vt:lpstr>Podíl pozitivních testů – vývoj do Vánoc: epidemiologické indikace</vt:lpstr>
      <vt:lpstr>Datová a informační základna  pro management pandemie COVID-19</vt:lpstr>
      <vt:lpstr>Počty COVID-19 pozitivních v ČR na 100 000 v populaci</vt:lpstr>
      <vt:lpstr>Počty COVID-19 pozitivních v ČR na 100 000 v populaci</vt:lpstr>
      <vt:lpstr>7 denní počet nových případů (na 100 000 obyv.) v ORP</vt:lpstr>
      <vt:lpstr>Počty nově COVID-19 pozitivních na 100 testů u dětí</vt:lpstr>
      <vt:lpstr>Počty nově COVID-19 pozitivních na 100 testů u dospělých</vt:lpstr>
      <vt:lpstr>Denní počet a predikovaný počet zemřelých</vt:lpstr>
      <vt:lpstr>Datová a informační základna  pro management pandemie COVID-19</vt:lpstr>
      <vt:lpstr>Prezentace aplikace PowerPoint</vt:lpstr>
      <vt:lpstr>Prezentace aplikace PowerPoint</vt:lpstr>
      <vt:lpstr>Prezentace aplikace PowerPoint</vt:lpstr>
      <vt:lpstr>Predikce celkového počtu hospitalizací – aktuální počet léčených </vt:lpstr>
      <vt:lpstr>Predikce počtu pacientů na JIP – aktuální počet případů </vt:lpstr>
      <vt:lpstr>Datová a informační základna  pro management pandemie COVID-19</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odíl variant ze sekvenovaných vzorků ve vybraných evropských zemích a v JAR k 13.12. 2021</vt:lpstr>
      <vt:lpstr>Podíl variant ze sekvenovaných vzorků ve vybraných evropských zemích a v JAR k 24.12. 2021</vt:lpstr>
      <vt:lpstr>Datová a informační základna  pro management pandemie COVID-19</vt:lpstr>
      <vt:lpstr>Vybrané záchyty Omicronu ze zpráv SZÚ</vt:lpstr>
      <vt:lpstr>Zastoupení původní a nové varianty mezi novými případy: model pro ČR (předpoklad 2násobného zvýšení reprodukčního čísla)</vt:lpstr>
      <vt:lpstr>Zastoupení původní a nové varianty mezi novými případy: model pro ČR (předpoklad 2,5násobného zvýšení reprodukčního čísla)</vt:lpstr>
      <vt:lpstr>Prezentace aplikace PowerPoint</vt:lpstr>
      <vt:lpstr>Prezentace aplikace PowerPoint</vt:lpstr>
      <vt:lpstr>Prezentace aplikace PowerPoint</vt:lpstr>
      <vt:lpstr>Stav očkování obyvatel v ČR k 27. 12. 2021</vt:lpstr>
      <vt:lpstr>Zájem o očkování, stav k 27. 12. 2021</vt:lpstr>
      <vt:lpstr>Očkování osob ve věku 60 a více let, stav k 27. 12. 2021</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tiepidemický systém ČR PES</dc:title>
  <dc:creator>Martin Komenda</dc:creator>
  <cp:lastModifiedBy>Dušek Ladislav prof. RNDr. Ph.D.</cp:lastModifiedBy>
  <cp:revision>2114</cp:revision>
  <dcterms:created xsi:type="dcterms:W3CDTF">2020-11-11T17:36:28Z</dcterms:created>
  <dcterms:modified xsi:type="dcterms:W3CDTF">2021-12-30T14:06:46Z</dcterms:modified>
</cp:coreProperties>
</file>